
<file path=[Content_Types].xml><?xml version="1.0" encoding="utf-8"?>
<Types xmlns="http://schemas.openxmlformats.org/package/2006/content-types">
  <Default Extension="mp4" ContentType="video/mp4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7"/>
  </p:notesMasterIdLst>
  <p:handoutMasterIdLst>
    <p:handoutMasterId r:id="rId18"/>
  </p:handoutMasterIdLst>
  <p:sldIdLst>
    <p:sldId id="258" r:id="rId2"/>
    <p:sldId id="364" r:id="rId3"/>
    <p:sldId id="374" r:id="rId4"/>
    <p:sldId id="380" r:id="rId5"/>
    <p:sldId id="367" r:id="rId6"/>
    <p:sldId id="376" r:id="rId7"/>
    <p:sldId id="377" r:id="rId8"/>
    <p:sldId id="378" r:id="rId9"/>
    <p:sldId id="379" r:id="rId10"/>
    <p:sldId id="366" r:id="rId11"/>
    <p:sldId id="369" r:id="rId12"/>
    <p:sldId id="375" r:id="rId13"/>
    <p:sldId id="370" r:id="rId14"/>
    <p:sldId id="371" r:id="rId15"/>
    <p:sldId id="373" r:id="rId16"/>
  </p:sldIdLst>
  <p:sldSz cx="12192000" cy="6858000"/>
  <p:notesSz cx="6799263" cy="9929813"/>
  <p:custDataLst>
    <p:tags r:id="rId19"/>
  </p:custDataLst>
  <p:defaultTextStyle>
    <a:defPPr>
      <a:defRPr lang="de-DE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tandardabschnitt" id="{61D227AE-223C-41D3-84C6-F8BAD8CDC3C7}">
          <p14:sldIdLst>
            <p14:sldId id="258"/>
            <p14:sldId id="364"/>
            <p14:sldId id="374"/>
            <p14:sldId id="380"/>
            <p14:sldId id="367"/>
            <p14:sldId id="376"/>
            <p14:sldId id="377"/>
            <p14:sldId id="378"/>
            <p14:sldId id="379"/>
            <p14:sldId id="366"/>
            <p14:sldId id="369"/>
            <p14:sldId id="375"/>
            <p14:sldId id="370"/>
            <p14:sldId id="371"/>
            <p14:sldId id="373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siebert" initials="s" lastIdx="2" clrIdx="0"/>
  <p:cmAuthor id="1" name="Tim Janke" initials="TJ" lastIdx="2" clrIdx="1">
    <p:extLst>
      <p:ext uri="{19B8F6BF-5375-455C-9EA6-DF929625EA0E}">
        <p15:presenceInfo xmlns:p15="http://schemas.microsoft.com/office/powerpoint/2012/main" userId="49c425d44c9d030a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689D"/>
    <a:srgbClr val="006256"/>
    <a:srgbClr val="008877"/>
    <a:srgbClr val="53B5FF"/>
    <a:srgbClr val="00CCB4"/>
    <a:srgbClr val="00F6D9"/>
    <a:srgbClr val="FFFF66"/>
    <a:srgbClr val="B90F22"/>
    <a:srgbClr val="C7E1FF"/>
    <a:srgbClr val="FFF7A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ittlere Formatvorlage 2 - Akz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BDBED569-4797-4DF1-A0F4-6AAB3CD982D8}" styleName="Helle Formatvorlage 3 - Akzent 5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69C7853C-536D-4A76-A0AE-DD22124D55A5}" styleName="Designformatvorlage 1 - Akzent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3C2FFA5D-87B4-456A-9821-1D502468CF0F}" styleName="Designformatvorlage 1 - Akz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35758FB7-9AC5-4552-8A53-C91805E547FA}" styleName="Designformatvorlage 1 - Akzent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125E5076-3810-47DD-B79F-674D7AD40C01}" styleName="Dunkle Formatvorlage 1 - Akzent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wholeTbl>
    <a:band1H>
      <a:tcStyle>
        <a:tcBdr/>
        <a:fill>
          <a:solidFill>
            <a:schemeClr val="accent1">
              <a:shade val="60000"/>
            </a:schemeClr>
          </a:solidFill>
        </a:fill>
      </a:tcStyle>
    </a:band1H>
    <a:band1V>
      <a:tcStyle>
        <a:tcBdr/>
        <a:fill>
          <a:solidFill>
            <a:schemeClr val="accent1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1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1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1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073A0DAA-6AF3-43AB-8588-CEC1D06C72B9}" styleName="Mittlere Formatvorlag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204" autoAdjust="0"/>
    <p:restoredTop sz="93979" autoAdjust="0"/>
  </p:normalViewPr>
  <p:slideViewPr>
    <p:cSldViewPr snapToObjects="1">
      <p:cViewPr varScale="1">
        <p:scale>
          <a:sx n="82" d="100"/>
          <a:sy n="82" d="100"/>
        </p:scale>
        <p:origin x="710" y="72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-296"/>
    </p:cViewPr>
  </p:sorterViewPr>
  <p:notesViewPr>
    <p:cSldViewPr snapToObjects="1">
      <p:cViewPr varScale="1">
        <p:scale>
          <a:sx n="80" d="100"/>
          <a:sy n="80" d="100"/>
        </p:scale>
        <p:origin x="3162" y="10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handoutMaster" Target="handoutMasters/handoutMaster1.xml"/><Relationship Id="rId3" Type="http://schemas.openxmlformats.org/officeDocument/2006/relationships/slide" Target="slides/slide2.xml"/><Relationship Id="rId21" Type="http://schemas.openxmlformats.org/officeDocument/2006/relationships/presProps" Target="pres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commentAuthors" Target="commentAuthor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tags" Target="tags/tag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viewProps" Target="viewProp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FCD71386-D196-489B-851D-0291A2892E1D}" type="doc">
      <dgm:prSet loTypeId="urn:microsoft.com/office/officeart/2005/8/layout/hierarchy3" loCatId="relationship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de-DE"/>
        </a:p>
      </dgm:t>
    </dgm:pt>
    <dgm:pt modelId="{713C3C3C-F611-414B-BF61-E0FFD73F073C}">
      <dgm:prSet phldrT="[Text]" custT="1"/>
      <dgm:spPr/>
      <dgm:t>
        <a:bodyPr/>
        <a:lstStyle/>
        <a:p>
          <a:r>
            <a:rPr lang="de-DE" sz="2400" dirty="0"/>
            <a:t>Non-</a:t>
          </a:r>
          <a:r>
            <a:rPr lang="de-DE" sz="2400" dirty="0" err="1"/>
            <a:t>behavior</a:t>
          </a:r>
          <a:r>
            <a:rPr lang="de-DE" sz="2400" dirty="0"/>
            <a:t>-</a:t>
          </a:r>
          <a:r>
            <a:rPr lang="de-DE" sz="2400" dirty="0" err="1"/>
            <a:t>based</a:t>
          </a:r>
          <a:r>
            <a:rPr lang="de-DE" sz="2400" dirty="0"/>
            <a:t> Variables</a:t>
          </a:r>
        </a:p>
      </dgm:t>
    </dgm:pt>
    <dgm:pt modelId="{700E2535-D8CE-478F-A666-AAA39DF832DF}" type="parTrans" cxnId="{58B6B32F-73E7-4DF9-83F1-DD2733B6BEB9}">
      <dgm:prSet/>
      <dgm:spPr/>
      <dgm:t>
        <a:bodyPr/>
        <a:lstStyle/>
        <a:p>
          <a:endParaRPr lang="de-DE"/>
        </a:p>
      </dgm:t>
    </dgm:pt>
    <dgm:pt modelId="{221087AF-577D-4B54-914B-37EA4F77D426}" type="sibTrans" cxnId="{58B6B32F-73E7-4DF9-83F1-DD2733B6BEB9}">
      <dgm:prSet/>
      <dgm:spPr/>
      <dgm:t>
        <a:bodyPr/>
        <a:lstStyle/>
        <a:p>
          <a:endParaRPr lang="de-DE"/>
        </a:p>
      </dgm:t>
    </dgm:pt>
    <dgm:pt modelId="{F6C14840-5074-4355-B42B-C2764572BA0A}">
      <dgm:prSet phldrT="[Text]" custT="1"/>
      <dgm:spPr/>
      <dgm:t>
        <a:bodyPr/>
        <a:lstStyle/>
        <a:p>
          <a:r>
            <a:rPr lang="de-DE" sz="1800" dirty="0"/>
            <a:t>Historical Power Load</a:t>
          </a:r>
        </a:p>
      </dgm:t>
    </dgm:pt>
    <dgm:pt modelId="{C192F52E-94AD-4393-BC18-BDFABCB9F947}" type="parTrans" cxnId="{7698D7CA-D801-4E2E-8B14-87B7DF9F5BF2}">
      <dgm:prSet/>
      <dgm:spPr/>
      <dgm:t>
        <a:bodyPr/>
        <a:lstStyle/>
        <a:p>
          <a:endParaRPr lang="de-DE"/>
        </a:p>
      </dgm:t>
    </dgm:pt>
    <dgm:pt modelId="{20F23412-D829-40D4-804F-411BB93F4D02}" type="sibTrans" cxnId="{7698D7CA-D801-4E2E-8B14-87B7DF9F5BF2}">
      <dgm:prSet/>
      <dgm:spPr/>
      <dgm:t>
        <a:bodyPr/>
        <a:lstStyle/>
        <a:p>
          <a:endParaRPr lang="de-DE"/>
        </a:p>
      </dgm:t>
    </dgm:pt>
    <dgm:pt modelId="{5FBA1369-2331-4A1F-BE0A-F4D68778C445}">
      <dgm:prSet phldrT="[Text]" custT="1"/>
      <dgm:spPr/>
      <dgm:t>
        <a:bodyPr/>
        <a:lstStyle/>
        <a:p>
          <a:r>
            <a:rPr lang="de-DE" sz="1800" dirty="0" err="1"/>
            <a:t>Weather</a:t>
          </a:r>
          <a:endParaRPr lang="de-DE" sz="1800" dirty="0"/>
        </a:p>
      </dgm:t>
    </dgm:pt>
    <dgm:pt modelId="{8048716F-EE47-46F7-A396-99F0E8D0A74C}" type="parTrans" cxnId="{98837725-02CF-4DBE-B492-D2E96D710968}">
      <dgm:prSet/>
      <dgm:spPr/>
      <dgm:t>
        <a:bodyPr/>
        <a:lstStyle/>
        <a:p>
          <a:endParaRPr lang="de-DE"/>
        </a:p>
      </dgm:t>
    </dgm:pt>
    <dgm:pt modelId="{31846A6E-F87D-49A1-8222-0CAC27860ED2}" type="sibTrans" cxnId="{98837725-02CF-4DBE-B492-D2E96D710968}">
      <dgm:prSet/>
      <dgm:spPr/>
      <dgm:t>
        <a:bodyPr/>
        <a:lstStyle/>
        <a:p>
          <a:endParaRPr lang="de-DE"/>
        </a:p>
      </dgm:t>
    </dgm:pt>
    <dgm:pt modelId="{D55E9D23-2DE9-4B67-9045-773B60EF46E6}">
      <dgm:prSet phldrT="[Text]" custT="1"/>
      <dgm:spPr/>
      <dgm:t>
        <a:bodyPr/>
        <a:lstStyle/>
        <a:p>
          <a:r>
            <a:rPr lang="de-DE" sz="2400" dirty="0" err="1"/>
            <a:t>Behavior-based</a:t>
          </a:r>
          <a:r>
            <a:rPr lang="de-DE" sz="2400" dirty="0"/>
            <a:t> Variables</a:t>
          </a:r>
        </a:p>
      </dgm:t>
    </dgm:pt>
    <dgm:pt modelId="{594A3BDD-17AD-41E8-ABD0-E9C713C4702A}" type="parTrans" cxnId="{F9F223E7-2A06-4AD0-87A2-E9D59ED97189}">
      <dgm:prSet/>
      <dgm:spPr/>
      <dgm:t>
        <a:bodyPr/>
        <a:lstStyle/>
        <a:p>
          <a:endParaRPr lang="de-DE"/>
        </a:p>
      </dgm:t>
    </dgm:pt>
    <dgm:pt modelId="{7EA15785-CBFB-4F03-B5A8-F58A6C05AFA2}" type="sibTrans" cxnId="{F9F223E7-2A06-4AD0-87A2-E9D59ED97189}">
      <dgm:prSet/>
      <dgm:spPr/>
      <dgm:t>
        <a:bodyPr/>
        <a:lstStyle/>
        <a:p>
          <a:endParaRPr lang="de-DE"/>
        </a:p>
      </dgm:t>
    </dgm:pt>
    <dgm:pt modelId="{313BCEF7-D569-49F5-A92B-DDF6F815B78F}">
      <dgm:prSet phldrT="[Text]" custT="1"/>
      <dgm:spPr/>
      <dgm:t>
        <a:bodyPr/>
        <a:lstStyle/>
        <a:p>
          <a:r>
            <a:rPr lang="de-DE" sz="1800" dirty="0" err="1"/>
            <a:t>Social</a:t>
          </a:r>
          <a:r>
            <a:rPr lang="de-DE" sz="1800" dirty="0"/>
            <a:t> </a:t>
          </a:r>
          <a:r>
            <a:rPr lang="de-DE" sz="1800" dirty="0" err="1"/>
            <a:t>media</a:t>
          </a:r>
          <a:endParaRPr lang="de-DE" sz="1800" dirty="0"/>
        </a:p>
      </dgm:t>
    </dgm:pt>
    <dgm:pt modelId="{C5B4FC55-7686-407C-BDE9-12405A7EE274}" type="parTrans" cxnId="{8B30F5C9-DE40-4195-B254-A087E55D72A0}">
      <dgm:prSet/>
      <dgm:spPr/>
      <dgm:t>
        <a:bodyPr/>
        <a:lstStyle/>
        <a:p>
          <a:endParaRPr lang="de-DE"/>
        </a:p>
      </dgm:t>
    </dgm:pt>
    <dgm:pt modelId="{0352A304-B68D-42A7-9182-988CF3E411BB}" type="sibTrans" cxnId="{8B30F5C9-DE40-4195-B254-A087E55D72A0}">
      <dgm:prSet/>
      <dgm:spPr/>
      <dgm:t>
        <a:bodyPr/>
        <a:lstStyle/>
        <a:p>
          <a:endParaRPr lang="de-DE"/>
        </a:p>
      </dgm:t>
    </dgm:pt>
    <dgm:pt modelId="{21AC2DB4-D39C-43FB-ABD4-A84B4129CA17}">
      <dgm:prSet phldrT="[Text]" custT="1"/>
      <dgm:spPr/>
      <dgm:t>
        <a:bodyPr/>
        <a:lstStyle/>
        <a:p>
          <a:r>
            <a:rPr lang="de-DE" sz="1800" dirty="0"/>
            <a:t>Traffic</a:t>
          </a:r>
        </a:p>
      </dgm:t>
    </dgm:pt>
    <dgm:pt modelId="{C65FE4C4-D791-4184-BEDD-B76B52ECA0EC}" type="parTrans" cxnId="{72243924-9E31-4AF6-B2C2-98A90864DE7E}">
      <dgm:prSet/>
      <dgm:spPr/>
      <dgm:t>
        <a:bodyPr/>
        <a:lstStyle/>
        <a:p>
          <a:endParaRPr lang="de-DE"/>
        </a:p>
      </dgm:t>
    </dgm:pt>
    <dgm:pt modelId="{0D85EF6B-7F2E-465A-8775-C4469F73F509}" type="sibTrans" cxnId="{72243924-9E31-4AF6-B2C2-98A90864DE7E}">
      <dgm:prSet/>
      <dgm:spPr/>
      <dgm:t>
        <a:bodyPr/>
        <a:lstStyle/>
        <a:p>
          <a:endParaRPr lang="de-DE"/>
        </a:p>
      </dgm:t>
    </dgm:pt>
    <dgm:pt modelId="{B4C18223-ABD7-487F-9A8C-B7FA2FEFEBD2}">
      <dgm:prSet phldrT="[Text]" custT="1"/>
      <dgm:spPr/>
      <dgm:t>
        <a:bodyPr/>
        <a:lstStyle/>
        <a:p>
          <a:r>
            <a:rPr lang="de-DE" sz="1800" dirty="0"/>
            <a:t>Time</a:t>
          </a:r>
        </a:p>
      </dgm:t>
    </dgm:pt>
    <dgm:pt modelId="{099FD095-594F-4BA6-9A5F-0AD1D5CF4148}" type="parTrans" cxnId="{96AAF3CC-C06B-4581-ADCA-EDD2953259D7}">
      <dgm:prSet/>
      <dgm:spPr/>
      <dgm:t>
        <a:bodyPr/>
        <a:lstStyle/>
        <a:p>
          <a:endParaRPr lang="de-DE"/>
        </a:p>
      </dgm:t>
    </dgm:pt>
    <dgm:pt modelId="{8CFA52D9-38C0-4495-B3BF-DB028095A5AF}" type="sibTrans" cxnId="{96AAF3CC-C06B-4581-ADCA-EDD2953259D7}">
      <dgm:prSet/>
      <dgm:spPr/>
      <dgm:t>
        <a:bodyPr/>
        <a:lstStyle/>
        <a:p>
          <a:endParaRPr lang="de-DE"/>
        </a:p>
      </dgm:t>
    </dgm:pt>
    <dgm:pt modelId="{9E7ADED5-E7AF-4650-8C0E-0B7E8FB4FEAD}">
      <dgm:prSet phldrT="[Text]" custT="1"/>
      <dgm:spPr/>
      <dgm:t>
        <a:bodyPr/>
        <a:lstStyle/>
        <a:p>
          <a:r>
            <a:rPr lang="de-DE" sz="1800" dirty="0" err="1"/>
            <a:t>Satellite</a:t>
          </a:r>
          <a:r>
            <a:rPr lang="de-DE" sz="1800" dirty="0"/>
            <a:t> Images</a:t>
          </a:r>
        </a:p>
      </dgm:t>
    </dgm:pt>
    <dgm:pt modelId="{A45CA4A0-D2A7-41CE-817B-E5F1CBE91EE6}" type="parTrans" cxnId="{1439AC05-5F9F-4F67-949A-02D1520F8AE0}">
      <dgm:prSet/>
      <dgm:spPr/>
      <dgm:t>
        <a:bodyPr/>
        <a:lstStyle/>
        <a:p>
          <a:endParaRPr lang="de-DE"/>
        </a:p>
      </dgm:t>
    </dgm:pt>
    <dgm:pt modelId="{08BF86C6-66FF-4E28-82DF-D23B138E7389}" type="sibTrans" cxnId="{1439AC05-5F9F-4F67-949A-02D1520F8AE0}">
      <dgm:prSet/>
      <dgm:spPr/>
      <dgm:t>
        <a:bodyPr/>
        <a:lstStyle/>
        <a:p>
          <a:endParaRPr lang="de-DE"/>
        </a:p>
      </dgm:t>
    </dgm:pt>
    <dgm:pt modelId="{419ECA19-D289-46D2-AF4D-AA1B2E341965}">
      <dgm:prSet phldrT="[Text]" custT="1"/>
      <dgm:spPr/>
      <dgm:t>
        <a:bodyPr/>
        <a:lstStyle/>
        <a:p>
          <a:r>
            <a:rPr lang="de-DE" sz="1800" dirty="0"/>
            <a:t>…</a:t>
          </a:r>
        </a:p>
      </dgm:t>
    </dgm:pt>
    <dgm:pt modelId="{5E18443A-0AF6-4828-B60E-3BFF4E65287E}" type="parTrans" cxnId="{591A44E2-3B56-4E97-A5CA-D5602269DAB8}">
      <dgm:prSet/>
      <dgm:spPr/>
      <dgm:t>
        <a:bodyPr/>
        <a:lstStyle/>
        <a:p>
          <a:endParaRPr lang="de-DE"/>
        </a:p>
      </dgm:t>
    </dgm:pt>
    <dgm:pt modelId="{2B19B538-4B00-44BE-ACCB-638BAF7B8A88}" type="sibTrans" cxnId="{591A44E2-3B56-4E97-A5CA-D5602269DAB8}">
      <dgm:prSet/>
      <dgm:spPr/>
      <dgm:t>
        <a:bodyPr/>
        <a:lstStyle/>
        <a:p>
          <a:endParaRPr lang="de-DE"/>
        </a:p>
      </dgm:t>
    </dgm:pt>
    <dgm:pt modelId="{F3DD62F8-2160-4D39-A276-AB8BB51486D4}">
      <dgm:prSet phldrT="[Text]" custT="1"/>
      <dgm:spPr/>
      <dgm:t>
        <a:bodyPr/>
        <a:lstStyle/>
        <a:p>
          <a:r>
            <a:rPr lang="de-DE" sz="1800" dirty="0"/>
            <a:t>…</a:t>
          </a:r>
        </a:p>
      </dgm:t>
    </dgm:pt>
    <dgm:pt modelId="{C16820C8-6CCC-487E-B1BF-A8228A7339CE}" type="parTrans" cxnId="{86C6310C-2722-4B69-AC68-A24690196B52}">
      <dgm:prSet/>
      <dgm:spPr/>
      <dgm:t>
        <a:bodyPr/>
        <a:lstStyle/>
        <a:p>
          <a:endParaRPr lang="de-DE"/>
        </a:p>
      </dgm:t>
    </dgm:pt>
    <dgm:pt modelId="{D1F85B7F-CE01-45C3-A09A-10F55D03CAD4}" type="sibTrans" cxnId="{86C6310C-2722-4B69-AC68-A24690196B52}">
      <dgm:prSet/>
      <dgm:spPr/>
      <dgm:t>
        <a:bodyPr/>
        <a:lstStyle/>
        <a:p>
          <a:endParaRPr lang="de-DE"/>
        </a:p>
      </dgm:t>
    </dgm:pt>
    <dgm:pt modelId="{E41289FB-6BF1-495F-83FE-A6E67C10F539}" type="pres">
      <dgm:prSet presAssocID="{FCD71386-D196-489B-851D-0291A2892E1D}" presName="diagram" presStyleCnt="0">
        <dgm:presLayoutVars>
          <dgm:chPref val="1"/>
          <dgm:dir/>
          <dgm:animOne val="branch"/>
          <dgm:animLvl val="lvl"/>
          <dgm:resizeHandles/>
        </dgm:presLayoutVars>
      </dgm:prSet>
      <dgm:spPr/>
    </dgm:pt>
    <dgm:pt modelId="{5B5E8F64-D263-4EF9-B3D5-7FD9359D15DB}" type="pres">
      <dgm:prSet presAssocID="{713C3C3C-F611-414B-BF61-E0FFD73F073C}" presName="root" presStyleCnt="0"/>
      <dgm:spPr/>
    </dgm:pt>
    <dgm:pt modelId="{A307C665-F8F3-4251-BA1A-C66B89244E37}" type="pres">
      <dgm:prSet presAssocID="{713C3C3C-F611-414B-BF61-E0FFD73F073C}" presName="rootComposite" presStyleCnt="0"/>
      <dgm:spPr/>
    </dgm:pt>
    <dgm:pt modelId="{20CEE715-3D35-42A0-BE4D-12B172B9F8EA}" type="pres">
      <dgm:prSet presAssocID="{713C3C3C-F611-414B-BF61-E0FFD73F073C}" presName="rootText" presStyleLbl="node1" presStyleIdx="0" presStyleCnt="2" custScaleX="189773" custLinFactNeighborX="-37833" custLinFactNeighborY="-269"/>
      <dgm:spPr/>
    </dgm:pt>
    <dgm:pt modelId="{B2A5B81D-48FE-4908-BF67-66CD968704C6}" type="pres">
      <dgm:prSet presAssocID="{713C3C3C-F611-414B-BF61-E0FFD73F073C}" presName="rootConnector" presStyleLbl="node1" presStyleIdx="0" presStyleCnt="2"/>
      <dgm:spPr/>
    </dgm:pt>
    <dgm:pt modelId="{7CBFE57E-ED23-44D3-A8D3-F868EB40DCCA}" type="pres">
      <dgm:prSet presAssocID="{713C3C3C-F611-414B-BF61-E0FFD73F073C}" presName="childShape" presStyleCnt="0"/>
      <dgm:spPr/>
    </dgm:pt>
    <dgm:pt modelId="{02A0B113-0600-412A-9DC9-0CB4C86240C9}" type="pres">
      <dgm:prSet presAssocID="{C192F52E-94AD-4393-BC18-BDFABCB9F947}" presName="Name13" presStyleLbl="parChTrans1D2" presStyleIdx="0" presStyleCnt="8"/>
      <dgm:spPr/>
    </dgm:pt>
    <dgm:pt modelId="{6756D7FE-4CD0-4330-9990-A1E5CD0430D7}" type="pres">
      <dgm:prSet presAssocID="{F6C14840-5074-4355-B42B-C2764572BA0A}" presName="childText" presStyleLbl="bgAcc1" presStyleIdx="0" presStyleCnt="8" custLinFactNeighborX="-46995" custLinFactNeighborY="-453">
        <dgm:presLayoutVars>
          <dgm:bulletEnabled val="1"/>
        </dgm:presLayoutVars>
      </dgm:prSet>
      <dgm:spPr/>
    </dgm:pt>
    <dgm:pt modelId="{9C1EE911-2B8C-423A-A5C5-C7BE96855221}" type="pres">
      <dgm:prSet presAssocID="{8048716F-EE47-46F7-A396-99F0E8D0A74C}" presName="Name13" presStyleLbl="parChTrans1D2" presStyleIdx="1" presStyleCnt="8"/>
      <dgm:spPr/>
    </dgm:pt>
    <dgm:pt modelId="{56A2AC68-48D6-4A41-8432-5DE28A879A81}" type="pres">
      <dgm:prSet presAssocID="{5FBA1369-2331-4A1F-BE0A-F4D68778C445}" presName="childText" presStyleLbl="bgAcc1" presStyleIdx="1" presStyleCnt="8" custLinFactNeighborX="-46995" custLinFactNeighborY="-681">
        <dgm:presLayoutVars>
          <dgm:bulletEnabled val="1"/>
        </dgm:presLayoutVars>
      </dgm:prSet>
      <dgm:spPr/>
    </dgm:pt>
    <dgm:pt modelId="{58B1074D-0F5C-4728-9218-072CFFBFA7F1}" type="pres">
      <dgm:prSet presAssocID="{099FD095-594F-4BA6-9A5F-0AD1D5CF4148}" presName="Name13" presStyleLbl="parChTrans1D2" presStyleIdx="2" presStyleCnt="8"/>
      <dgm:spPr/>
    </dgm:pt>
    <dgm:pt modelId="{AEF9AC03-0D36-4876-87D2-7AAFB54A0227}" type="pres">
      <dgm:prSet presAssocID="{B4C18223-ABD7-487F-9A8C-B7FA2FEFEBD2}" presName="childText" presStyleLbl="bgAcc1" presStyleIdx="2" presStyleCnt="8" custLinFactNeighborX="-48975" custLinFactNeighborY="-2961">
        <dgm:presLayoutVars>
          <dgm:bulletEnabled val="1"/>
        </dgm:presLayoutVars>
      </dgm:prSet>
      <dgm:spPr/>
    </dgm:pt>
    <dgm:pt modelId="{791D703C-F533-4BAF-BDE8-DD51435A86B4}" type="pres">
      <dgm:prSet presAssocID="{5E18443A-0AF6-4828-B60E-3BFF4E65287E}" presName="Name13" presStyleLbl="parChTrans1D2" presStyleIdx="3" presStyleCnt="8"/>
      <dgm:spPr/>
    </dgm:pt>
    <dgm:pt modelId="{5997D142-ED57-4FC5-BE61-92C7A3297D8E}" type="pres">
      <dgm:prSet presAssocID="{419ECA19-D289-46D2-AF4D-AA1B2E341965}" presName="childText" presStyleLbl="bgAcc1" presStyleIdx="3" presStyleCnt="8" custLinFactNeighborX="-49078" custLinFactNeighborY="293">
        <dgm:presLayoutVars>
          <dgm:bulletEnabled val="1"/>
        </dgm:presLayoutVars>
      </dgm:prSet>
      <dgm:spPr/>
    </dgm:pt>
    <dgm:pt modelId="{59BC4CD8-323C-460A-BF72-B1D223CD1D61}" type="pres">
      <dgm:prSet presAssocID="{D55E9D23-2DE9-4B67-9045-773B60EF46E6}" presName="root" presStyleCnt="0"/>
      <dgm:spPr/>
    </dgm:pt>
    <dgm:pt modelId="{20323607-F3A1-4040-B0C5-B90B906D0311}" type="pres">
      <dgm:prSet presAssocID="{D55E9D23-2DE9-4B67-9045-773B60EF46E6}" presName="rootComposite" presStyleCnt="0"/>
      <dgm:spPr/>
    </dgm:pt>
    <dgm:pt modelId="{2A66DC7D-BDF3-4751-A4D3-67EB48BAAC5F}" type="pres">
      <dgm:prSet presAssocID="{D55E9D23-2DE9-4B67-9045-773B60EF46E6}" presName="rootText" presStyleLbl="node1" presStyleIdx="1" presStyleCnt="2" custScaleX="192065"/>
      <dgm:spPr/>
    </dgm:pt>
    <dgm:pt modelId="{CA045228-FC7A-4F5A-BD5D-45ED003D626F}" type="pres">
      <dgm:prSet presAssocID="{D55E9D23-2DE9-4B67-9045-773B60EF46E6}" presName="rootConnector" presStyleLbl="node1" presStyleIdx="1" presStyleCnt="2"/>
      <dgm:spPr/>
    </dgm:pt>
    <dgm:pt modelId="{96DB5CE5-87B0-4F61-93B6-D656451952F4}" type="pres">
      <dgm:prSet presAssocID="{D55E9D23-2DE9-4B67-9045-773B60EF46E6}" presName="childShape" presStyleCnt="0"/>
      <dgm:spPr/>
    </dgm:pt>
    <dgm:pt modelId="{0B6E15B1-D3C4-4A12-B25D-F82ADEC64178}" type="pres">
      <dgm:prSet presAssocID="{C5B4FC55-7686-407C-BDE9-12405A7EE274}" presName="Name13" presStyleLbl="parChTrans1D2" presStyleIdx="4" presStyleCnt="8"/>
      <dgm:spPr/>
    </dgm:pt>
    <dgm:pt modelId="{695D0167-DA06-4F35-9C5E-88498FC32FA8}" type="pres">
      <dgm:prSet presAssocID="{313BCEF7-D569-49F5-A92B-DDF6F815B78F}" presName="childText" presStyleLbl="bgAcc1" presStyleIdx="4" presStyleCnt="8">
        <dgm:presLayoutVars>
          <dgm:bulletEnabled val="1"/>
        </dgm:presLayoutVars>
      </dgm:prSet>
      <dgm:spPr/>
    </dgm:pt>
    <dgm:pt modelId="{7E23E5B5-1E1E-49B5-BFA5-9B1ACC15D04D}" type="pres">
      <dgm:prSet presAssocID="{C65FE4C4-D791-4184-BEDD-B76B52ECA0EC}" presName="Name13" presStyleLbl="parChTrans1D2" presStyleIdx="5" presStyleCnt="8"/>
      <dgm:spPr/>
    </dgm:pt>
    <dgm:pt modelId="{83F77979-CE46-4054-805F-949D8C4BCAA5}" type="pres">
      <dgm:prSet presAssocID="{21AC2DB4-D39C-43FB-ABD4-A84B4129CA17}" presName="childText" presStyleLbl="bgAcc1" presStyleIdx="5" presStyleCnt="8">
        <dgm:presLayoutVars>
          <dgm:bulletEnabled val="1"/>
        </dgm:presLayoutVars>
      </dgm:prSet>
      <dgm:spPr/>
    </dgm:pt>
    <dgm:pt modelId="{87930022-88E2-4A7E-ACFE-72E10DAC527A}" type="pres">
      <dgm:prSet presAssocID="{A45CA4A0-D2A7-41CE-817B-E5F1CBE91EE6}" presName="Name13" presStyleLbl="parChTrans1D2" presStyleIdx="6" presStyleCnt="8"/>
      <dgm:spPr/>
    </dgm:pt>
    <dgm:pt modelId="{10A2390F-D011-4118-A24E-F0202DA7334E}" type="pres">
      <dgm:prSet presAssocID="{9E7ADED5-E7AF-4650-8C0E-0B7E8FB4FEAD}" presName="childText" presStyleLbl="bgAcc1" presStyleIdx="6" presStyleCnt="8">
        <dgm:presLayoutVars>
          <dgm:bulletEnabled val="1"/>
        </dgm:presLayoutVars>
      </dgm:prSet>
      <dgm:spPr/>
    </dgm:pt>
    <dgm:pt modelId="{841635B0-FB7E-4A9A-A2CC-233E088B1FF5}" type="pres">
      <dgm:prSet presAssocID="{C16820C8-6CCC-487E-B1BF-A8228A7339CE}" presName="Name13" presStyleLbl="parChTrans1D2" presStyleIdx="7" presStyleCnt="8"/>
      <dgm:spPr/>
    </dgm:pt>
    <dgm:pt modelId="{06B60F2A-84B1-468E-84E8-0CD800D9891F}" type="pres">
      <dgm:prSet presAssocID="{F3DD62F8-2160-4D39-A276-AB8BB51486D4}" presName="childText" presStyleLbl="bgAcc1" presStyleIdx="7" presStyleCnt="8">
        <dgm:presLayoutVars>
          <dgm:bulletEnabled val="1"/>
        </dgm:presLayoutVars>
      </dgm:prSet>
      <dgm:spPr/>
    </dgm:pt>
  </dgm:ptLst>
  <dgm:cxnLst>
    <dgm:cxn modelId="{2C7C5D00-3318-4B3D-A50F-46AE55035DC6}" type="presOf" srcId="{21AC2DB4-D39C-43FB-ABD4-A84B4129CA17}" destId="{83F77979-CE46-4054-805F-949D8C4BCAA5}" srcOrd="0" destOrd="0" presId="urn:microsoft.com/office/officeart/2005/8/layout/hierarchy3"/>
    <dgm:cxn modelId="{1439AC05-5F9F-4F67-949A-02D1520F8AE0}" srcId="{D55E9D23-2DE9-4B67-9045-773B60EF46E6}" destId="{9E7ADED5-E7AF-4650-8C0E-0B7E8FB4FEAD}" srcOrd="2" destOrd="0" parTransId="{A45CA4A0-D2A7-41CE-817B-E5F1CBE91EE6}" sibTransId="{08BF86C6-66FF-4E28-82DF-D23B138E7389}"/>
    <dgm:cxn modelId="{86C6310C-2722-4B69-AC68-A24690196B52}" srcId="{D55E9D23-2DE9-4B67-9045-773B60EF46E6}" destId="{F3DD62F8-2160-4D39-A276-AB8BB51486D4}" srcOrd="3" destOrd="0" parTransId="{C16820C8-6CCC-487E-B1BF-A8228A7339CE}" sibTransId="{D1F85B7F-CE01-45C3-A09A-10F55D03CAD4}"/>
    <dgm:cxn modelId="{50E84310-5DAC-47CD-A864-07FF07F44620}" type="presOf" srcId="{9E7ADED5-E7AF-4650-8C0E-0B7E8FB4FEAD}" destId="{10A2390F-D011-4118-A24E-F0202DA7334E}" srcOrd="0" destOrd="0" presId="urn:microsoft.com/office/officeart/2005/8/layout/hierarchy3"/>
    <dgm:cxn modelId="{72243924-9E31-4AF6-B2C2-98A90864DE7E}" srcId="{D55E9D23-2DE9-4B67-9045-773B60EF46E6}" destId="{21AC2DB4-D39C-43FB-ABD4-A84B4129CA17}" srcOrd="1" destOrd="0" parTransId="{C65FE4C4-D791-4184-BEDD-B76B52ECA0EC}" sibTransId="{0D85EF6B-7F2E-465A-8775-C4469F73F509}"/>
    <dgm:cxn modelId="{98837725-02CF-4DBE-B492-D2E96D710968}" srcId="{713C3C3C-F611-414B-BF61-E0FFD73F073C}" destId="{5FBA1369-2331-4A1F-BE0A-F4D68778C445}" srcOrd="1" destOrd="0" parTransId="{8048716F-EE47-46F7-A396-99F0E8D0A74C}" sibTransId="{31846A6E-F87D-49A1-8222-0CAC27860ED2}"/>
    <dgm:cxn modelId="{58B6B32F-73E7-4DF9-83F1-DD2733B6BEB9}" srcId="{FCD71386-D196-489B-851D-0291A2892E1D}" destId="{713C3C3C-F611-414B-BF61-E0FFD73F073C}" srcOrd="0" destOrd="0" parTransId="{700E2535-D8CE-478F-A666-AAA39DF832DF}" sibTransId="{221087AF-577D-4B54-914B-37EA4F77D426}"/>
    <dgm:cxn modelId="{5B24CB36-4DEF-459B-8F34-CDEE14FBB83E}" type="presOf" srcId="{FCD71386-D196-489B-851D-0291A2892E1D}" destId="{E41289FB-6BF1-495F-83FE-A6E67C10F539}" srcOrd="0" destOrd="0" presId="urn:microsoft.com/office/officeart/2005/8/layout/hierarchy3"/>
    <dgm:cxn modelId="{34B95C37-B01E-4F3B-AE13-205F5639E814}" type="presOf" srcId="{C65FE4C4-D791-4184-BEDD-B76B52ECA0EC}" destId="{7E23E5B5-1E1E-49B5-BFA5-9B1ACC15D04D}" srcOrd="0" destOrd="0" presId="urn:microsoft.com/office/officeart/2005/8/layout/hierarchy3"/>
    <dgm:cxn modelId="{43BD643B-3FB9-43E4-AABA-920E1FC76438}" type="presOf" srcId="{313BCEF7-D569-49F5-A92B-DDF6F815B78F}" destId="{695D0167-DA06-4F35-9C5E-88498FC32FA8}" srcOrd="0" destOrd="0" presId="urn:microsoft.com/office/officeart/2005/8/layout/hierarchy3"/>
    <dgm:cxn modelId="{0DD6C43F-02A8-4002-91ED-DB80F9686D41}" type="presOf" srcId="{419ECA19-D289-46D2-AF4D-AA1B2E341965}" destId="{5997D142-ED57-4FC5-BE61-92C7A3297D8E}" srcOrd="0" destOrd="0" presId="urn:microsoft.com/office/officeart/2005/8/layout/hierarchy3"/>
    <dgm:cxn modelId="{0CE0ED62-D5BD-4269-A00D-F3C23320B8D8}" type="presOf" srcId="{F3DD62F8-2160-4D39-A276-AB8BB51486D4}" destId="{06B60F2A-84B1-468E-84E8-0CD800D9891F}" srcOrd="0" destOrd="0" presId="urn:microsoft.com/office/officeart/2005/8/layout/hierarchy3"/>
    <dgm:cxn modelId="{E08DC04E-EDEA-46BD-B215-C7FE4CC80F14}" type="presOf" srcId="{C5B4FC55-7686-407C-BDE9-12405A7EE274}" destId="{0B6E15B1-D3C4-4A12-B25D-F82ADEC64178}" srcOrd="0" destOrd="0" presId="urn:microsoft.com/office/officeart/2005/8/layout/hierarchy3"/>
    <dgm:cxn modelId="{BE757871-423F-49E9-A14E-DD1EA6647704}" type="presOf" srcId="{D55E9D23-2DE9-4B67-9045-773B60EF46E6}" destId="{CA045228-FC7A-4F5A-BD5D-45ED003D626F}" srcOrd="1" destOrd="0" presId="urn:microsoft.com/office/officeart/2005/8/layout/hierarchy3"/>
    <dgm:cxn modelId="{2E42FD73-BF81-42FB-A5FD-A499A3351F75}" type="presOf" srcId="{D55E9D23-2DE9-4B67-9045-773B60EF46E6}" destId="{2A66DC7D-BDF3-4751-A4D3-67EB48BAAC5F}" srcOrd="0" destOrd="0" presId="urn:microsoft.com/office/officeart/2005/8/layout/hierarchy3"/>
    <dgm:cxn modelId="{8FA66575-D554-421F-83F3-05367D95CD7E}" type="presOf" srcId="{713C3C3C-F611-414B-BF61-E0FFD73F073C}" destId="{B2A5B81D-48FE-4908-BF67-66CD968704C6}" srcOrd="1" destOrd="0" presId="urn:microsoft.com/office/officeart/2005/8/layout/hierarchy3"/>
    <dgm:cxn modelId="{B25E9877-1A38-4E5D-AB07-B88A641E94AD}" type="presOf" srcId="{B4C18223-ABD7-487F-9A8C-B7FA2FEFEBD2}" destId="{AEF9AC03-0D36-4876-87D2-7AAFB54A0227}" srcOrd="0" destOrd="0" presId="urn:microsoft.com/office/officeart/2005/8/layout/hierarchy3"/>
    <dgm:cxn modelId="{C0E04E58-3C3B-4DE1-97D3-F9ED44204F05}" type="presOf" srcId="{099FD095-594F-4BA6-9A5F-0AD1D5CF4148}" destId="{58B1074D-0F5C-4728-9218-072CFFBFA7F1}" srcOrd="0" destOrd="0" presId="urn:microsoft.com/office/officeart/2005/8/layout/hierarchy3"/>
    <dgm:cxn modelId="{EAEBB27D-0A8F-4AEA-AC35-5389700F180A}" type="presOf" srcId="{5E18443A-0AF6-4828-B60E-3BFF4E65287E}" destId="{791D703C-F533-4BAF-BDE8-DD51435A86B4}" srcOrd="0" destOrd="0" presId="urn:microsoft.com/office/officeart/2005/8/layout/hierarchy3"/>
    <dgm:cxn modelId="{15705689-2882-4EF8-86C9-19305F948E8E}" type="presOf" srcId="{8048716F-EE47-46F7-A396-99F0E8D0A74C}" destId="{9C1EE911-2B8C-423A-A5C5-C7BE96855221}" srcOrd="0" destOrd="0" presId="urn:microsoft.com/office/officeart/2005/8/layout/hierarchy3"/>
    <dgm:cxn modelId="{AF9934B3-8E03-4E03-82AF-32D05B602B5F}" type="presOf" srcId="{C192F52E-94AD-4393-BC18-BDFABCB9F947}" destId="{02A0B113-0600-412A-9DC9-0CB4C86240C9}" srcOrd="0" destOrd="0" presId="urn:microsoft.com/office/officeart/2005/8/layout/hierarchy3"/>
    <dgm:cxn modelId="{F70238BE-02E4-49D5-81E9-4430F0D46AEA}" type="presOf" srcId="{F6C14840-5074-4355-B42B-C2764572BA0A}" destId="{6756D7FE-4CD0-4330-9990-A1E5CD0430D7}" srcOrd="0" destOrd="0" presId="urn:microsoft.com/office/officeart/2005/8/layout/hierarchy3"/>
    <dgm:cxn modelId="{472B43C1-0AB1-4632-AF66-BDA8992B129F}" type="presOf" srcId="{C16820C8-6CCC-487E-B1BF-A8228A7339CE}" destId="{841635B0-FB7E-4A9A-A2CC-233E088B1FF5}" srcOrd="0" destOrd="0" presId="urn:microsoft.com/office/officeart/2005/8/layout/hierarchy3"/>
    <dgm:cxn modelId="{8B30F5C9-DE40-4195-B254-A087E55D72A0}" srcId="{D55E9D23-2DE9-4B67-9045-773B60EF46E6}" destId="{313BCEF7-D569-49F5-A92B-DDF6F815B78F}" srcOrd="0" destOrd="0" parTransId="{C5B4FC55-7686-407C-BDE9-12405A7EE274}" sibTransId="{0352A304-B68D-42A7-9182-988CF3E411BB}"/>
    <dgm:cxn modelId="{7698D7CA-D801-4E2E-8B14-87B7DF9F5BF2}" srcId="{713C3C3C-F611-414B-BF61-E0FFD73F073C}" destId="{F6C14840-5074-4355-B42B-C2764572BA0A}" srcOrd="0" destOrd="0" parTransId="{C192F52E-94AD-4393-BC18-BDFABCB9F947}" sibTransId="{20F23412-D829-40D4-804F-411BB93F4D02}"/>
    <dgm:cxn modelId="{96AAF3CC-C06B-4581-ADCA-EDD2953259D7}" srcId="{713C3C3C-F611-414B-BF61-E0FFD73F073C}" destId="{B4C18223-ABD7-487F-9A8C-B7FA2FEFEBD2}" srcOrd="2" destOrd="0" parTransId="{099FD095-594F-4BA6-9A5F-0AD1D5CF4148}" sibTransId="{8CFA52D9-38C0-4495-B3BF-DB028095A5AF}"/>
    <dgm:cxn modelId="{66E020CE-AECD-49D4-91B7-9B94A65919CA}" type="presOf" srcId="{5FBA1369-2331-4A1F-BE0A-F4D68778C445}" destId="{56A2AC68-48D6-4A41-8432-5DE28A879A81}" srcOrd="0" destOrd="0" presId="urn:microsoft.com/office/officeart/2005/8/layout/hierarchy3"/>
    <dgm:cxn modelId="{97978CD8-F57B-4447-8DEE-B8961E9059A8}" type="presOf" srcId="{713C3C3C-F611-414B-BF61-E0FFD73F073C}" destId="{20CEE715-3D35-42A0-BE4D-12B172B9F8EA}" srcOrd="0" destOrd="0" presId="urn:microsoft.com/office/officeart/2005/8/layout/hierarchy3"/>
    <dgm:cxn modelId="{591A44E2-3B56-4E97-A5CA-D5602269DAB8}" srcId="{713C3C3C-F611-414B-BF61-E0FFD73F073C}" destId="{419ECA19-D289-46D2-AF4D-AA1B2E341965}" srcOrd="3" destOrd="0" parTransId="{5E18443A-0AF6-4828-B60E-3BFF4E65287E}" sibTransId="{2B19B538-4B00-44BE-ACCB-638BAF7B8A88}"/>
    <dgm:cxn modelId="{F9F223E7-2A06-4AD0-87A2-E9D59ED97189}" srcId="{FCD71386-D196-489B-851D-0291A2892E1D}" destId="{D55E9D23-2DE9-4B67-9045-773B60EF46E6}" srcOrd="1" destOrd="0" parTransId="{594A3BDD-17AD-41E8-ABD0-E9C713C4702A}" sibTransId="{7EA15785-CBFB-4F03-B5A8-F58A6C05AFA2}"/>
    <dgm:cxn modelId="{04D2A1F3-F845-4B69-BEB6-E425456F6DE4}" type="presOf" srcId="{A45CA4A0-D2A7-41CE-817B-E5F1CBE91EE6}" destId="{87930022-88E2-4A7E-ACFE-72E10DAC527A}" srcOrd="0" destOrd="0" presId="urn:microsoft.com/office/officeart/2005/8/layout/hierarchy3"/>
    <dgm:cxn modelId="{0E3B4BED-8FFC-4C27-BB79-DCAF87C1F883}" type="presParOf" srcId="{E41289FB-6BF1-495F-83FE-A6E67C10F539}" destId="{5B5E8F64-D263-4EF9-B3D5-7FD9359D15DB}" srcOrd="0" destOrd="0" presId="urn:microsoft.com/office/officeart/2005/8/layout/hierarchy3"/>
    <dgm:cxn modelId="{4484235E-5C76-434B-8984-793936EE5149}" type="presParOf" srcId="{5B5E8F64-D263-4EF9-B3D5-7FD9359D15DB}" destId="{A307C665-F8F3-4251-BA1A-C66B89244E37}" srcOrd="0" destOrd="0" presId="urn:microsoft.com/office/officeart/2005/8/layout/hierarchy3"/>
    <dgm:cxn modelId="{AEEED5B2-D87C-4EBC-9D74-E015F7E0DB4B}" type="presParOf" srcId="{A307C665-F8F3-4251-BA1A-C66B89244E37}" destId="{20CEE715-3D35-42A0-BE4D-12B172B9F8EA}" srcOrd="0" destOrd="0" presId="urn:microsoft.com/office/officeart/2005/8/layout/hierarchy3"/>
    <dgm:cxn modelId="{D66C3109-4D11-4D4F-86ED-985712F5C779}" type="presParOf" srcId="{A307C665-F8F3-4251-BA1A-C66B89244E37}" destId="{B2A5B81D-48FE-4908-BF67-66CD968704C6}" srcOrd="1" destOrd="0" presId="urn:microsoft.com/office/officeart/2005/8/layout/hierarchy3"/>
    <dgm:cxn modelId="{EF8B6743-D580-444B-909D-2C7DCF64A4F1}" type="presParOf" srcId="{5B5E8F64-D263-4EF9-B3D5-7FD9359D15DB}" destId="{7CBFE57E-ED23-44D3-A8D3-F868EB40DCCA}" srcOrd="1" destOrd="0" presId="urn:microsoft.com/office/officeart/2005/8/layout/hierarchy3"/>
    <dgm:cxn modelId="{C9A59680-7781-4C24-9EB6-517A7D955F72}" type="presParOf" srcId="{7CBFE57E-ED23-44D3-A8D3-F868EB40DCCA}" destId="{02A0B113-0600-412A-9DC9-0CB4C86240C9}" srcOrd="0" destOrd="0" presId="urn:microsoft.com/office/officeart/2005/8/layout/hierarchy3"/>
    <dgm:cxn modelId="{8DDBF0CE-0735-439C-AF37-01119DF6AF79}" type="presParOf" srcId="{7CBFE57E-ED23-44D3-A8D3-F868EB40DCCA}" destId="{6756D7FE-4CD0-4330-9990-A1E5CD0430D7}" srcOrd="1" destOrd="0" presId="urn:microsoft.com/office/officeart/2005/8/layout/hierarchy3"/>
    <dgm:cxn modelId="{D2EE23B8-8703-432D-B737-577082C31FBB}" type="presParOf" srcId="{7CBFE57E-ED23-44D3-A8D3-F868EB40DCCA}" destId="{9C1EE911-2B8C-423A-A5C5-C7BE96855221}" srcOrd="2" destOrd="0" presId="urn:microsoft.com/office/officeart/2005/8/layout/hierarchy3"/>
    <dgm:cxn modelId="{F2141C11-C1C8-4CFA-927B-18B662A162C7}" type="presParOf" srcId="{7CBFE57E-ED23-44D3-A8D3-F868EB40DCCA}" destId="{56A2AC68-48D6-4A41-8432-5DE28A879A81}" srcOrd="3" destOrd="0" presId="urn:microsoft.com/office/officeart/2005/8/layout/hierarchy3"/>
    <dgm:cxn modelId="{A08EF033-12A8-4391-93A2-A64957E6B670}" type="presParOf" srcId="{7CBFE57E-ED23-44D3-A8D3-F868EB40DCCA}" destId="{58B1074D-0F5C-4728-9218-072CFFBFA7F1}" srcOrd="4" destOrd="0" presId="urn:microsoft.com/office/officeart/2005/8/layout/hierarchy3"/>
    <dgm:cxn modelId="{70FB6E06-964F-4423-A80A-999DC90A5ED7}" type="presParOf" srcId="{7CBFE57E-ED23-44D3-A8D3-F868EB40DCCA}" destId="{AEF9AC03-0D36-4876-87D2-7AAFB54A0227}" srcOrd="5" destOrd="0" presId="urn:microsoft.com/office/officeart/2005/8/layout/hierarchy3"/>
    <dgm:cxn modelId="{6FD3E1C7-F59A-4E3F-B62F-D8155FDC31E7}" type="presParOf" srcId="{7CBFE57E-ED23-44D3-A8D3-F868EB40DCCA}" destId="{791D703C-F533-4BAF-BDE8-DD51435A86B4}" srcOrd="6" destOrd="0" presId="urn:microsoft.com/office/officeart/2005/8/layout/hierarchy3"/>
    <dgm:cxn modelId="{3B64404F-2DF4-4C3E-82FB-7B85F2F10FBF}" type="presParOf" srcId="{7CBFE57E-ED23-44D3-A8D3-F868EB40DCCA}" destId="{5997D142-ED57-4FC5-BE61-92C7A3297D8E}" srcOrd="7" destOrd="0" presId="urn:microsoft.com/office/officeart/2005/8/layout/hierarchy3"/>
    <dgm:cxn modelId="{332933CE-67D3-4427-8170-3306F131122F}" type="presParOf" srcId="{E41289FB-6BF1-495F-83FE-A6E67C10F539}" destId="{59BC4CD8-323C-460A-BF72-B1D223CD1D61}" srcOrd="1" destOrd="0" presId="urn:microsoft.com/office/officeart/2005/8/layout/hierarchy3"/>
    <dgm:cxn modelId="{DD4E6FE0-5A49-4235-93A8-DAF6D53A9323}" type="presParOf" srcId="{59BC4CD8-323C-460A-BF72-B1D223CD1D61}" destId="{20323607-F3A1-4040-B0C5-B90B906D0311}" srcOrd="0" destOrd="0" presId="urn:microsoft.com/office/officeart/2005/8/layout/hierarchy3"/>
    <dgm:cxn modelId="{BCF5D4FC-04FD-46EA-81AA-8EF51470AF9B}" type="presParOf" srcId="{20323607-F3A1-4040-B0C5-B90B906D0311}" destId="{2A66DC7D-BDF3-4751-A4D3-67EB48BAAC5F}" srcOrd="0" destOrd="0" presId="urn:microsoft.com/office/officeart/2005/8/layout/hierarchy3"/>
    <dgm:cxn modelId="{3968773B-B032-464C-8501-F7FEE6555C1C}" type="presParOf" srcId="{20323607-F3A1-4040-B0C5-B90B906D0311}" destId="{CA045228-FC7A-4F5A-BD5D-45ED003D626F}" srcOrd="1" destOrd="0" presId="urn:microsoft.com/office/officeart/2005/8/layout/hierarchy3"/>
    <dgm:cxn modelId="{3223D5CB-28B4-42A9-AD20-7B50E8581B6B}" type="presParOf" srcId="{59BC4CD8-323C-460A-BF72-B1D223CD1D61}" destId="{96DB5CE5-87B0-4F61-93B6-D656451952F4}" srcOrd="1" destOrd="0" presId="urn:microsoft.com/office/officeart/2005/8/layout/hierarchy3"/>
    <dgm:cxn modelId="{BD13D795-1C85-4CDB-BF24-51867A3E0780}" type="presParOf" srcId="{96DB5CE5-87B0-4F61-93B6-D656451952F4}" destId="{0B6E15B1-D3C4-4A12-B25D-F82ADEC64178}" srcOrd="0" destOrd="0" presId="urn:microsoft.com/office/officeart/2005/8/layout/hierarchy3"/>
    <dgm:cxn modelId="{866581DB-6814-48F9-96CF-7492E4391586}" type="presParOf" srcId="{96DB5CE5-87B0-4F61-93B6-D656451952F4}" destId="{695D0167-DA06-4F35-9C5E-88498FC32FA8}" srcOrd="1" destOrd="0" presId="urn:microsoft.com/office/officeart/2005/8/layout/hierarchy3"/>
    <dgm:cxn modelId="{3F1EFB8A-B954-4908-8812-CBD5494405E2}" type="presParOf" srcId="{96DB5CE5-87B0-4F61-93B6-D656451952F4}" destId="{7E23E5B5-1E1E-49B5-BFA5-9B1ACC15D04D}" srcOrd="2" destOrd="0" presId="urn:microsoft.com/office/officeart/2005/8/layout/hierarchy3"/>
    <dgm:cxn modelId="{9755801C-3A28-41ED-9708-F15F17C8B126}" type="presParOf" srcId="{96DB5CE5-87B0-4F61-93B6-D656451952F4}" destId="{83F77979-CE46-4054-805F-949D8C4BCAA5}" srcOrd="3" destOrd="0" presId="urn:microsoft.com/office/officeart/2005/8/layout/hierarchy3"/>
    <dgm:cxn modelId="{DD57FFDF-B3DE-472F-9929-FBF1D3DF5C24}" type="presParOf" srcId="{96DB5CE5-87B0-4F61-93B6-D656451952F4}" destId="{87930022-88E2-4A7E-ACFE-72E10DAC527A}" srcOrd="4" destOrd="0" presId="urn:microsoft.com/office/officeart/2005/8/layout/hierarchy3"/>
    <dgm:cxn modelId="{F24A8531-004D-45D9-A39A-4002C7F575D2}" type="presParOf" srcId="{96DB5CE5-87B0-4F61-93B6-D656451952F4}" destId="{10A2390F-D011-4118-A24E-F0202DA7334E}" srcOrd="5" destOrd="0" presId="urn:microsoft.com/office/officeart/2005/8/layout/hierarchy3"/>
    <dgm:cxn modelId="{7C962E69-4569-45B5-AA0C-77A5ED9A0132}" type="presParOf" srcId="{96DB5CE5-87B0-4F61-93B6-D656451952F4}" destId="{841635B0-FB7E-4A9A-A2CC-233E088B1FF5}" srcOrd="6" destOrd="0" presId="urn:microsoft.com/office/officeart/2005/8/layout/hierarchy3"/>
    <dgm:cxn modelId="{91CAD8FF-2CF5-4699-843A-5206B05D07F4}" type="presParOf" srcId="{96DB5CE5-87B0-4F61-93B6-D656451952F4}" destId="{06B60F2A-84B1-468E-84E8-0CD800D9891F}" srcOrd="7" destOrd="0" presId="urn:microsoft.com/office/officeart/2005/8/layout/hierarchy3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20BBA37C-E49C-4BCC-ABDD-3701E4539CD8}" type="doc">
      <dgm:prSet loTypeId="urn:microsoft.com/office/officeart/2005/8/layout/hChevron3" loCatId="process" qsTypeId="urn:microsoft.com/office/officeart/2005/8/quickstyle/simple1" qsCatId="simple" csTypeId="urn:microsoft.com/office/officeart/2005/8/colors/accent1_2" csCatId="accent1" phldr="1"/>
      <dgm:spPr/>
    </dgm:pt>
    <dgm:pt modelId="{85CE94F9-D573-496C-8F4A-58CAC04920B9}">
      <dgm:prSet phldrT="[Text]">
        <dgm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dgm:style>
      </dgm:prSet>
      <dgm:spPr/>
      <dgm:t>
        <a:bodyPr/>
        <a:lstStyle/>
        <a:p>
          <a:r>
            <a:rPr lang="de-DE" dirty="0" err="1"/>
            <a:t>Literature</a:t>
          </a:r>
          <a:r>
            <a:rPr lang="de-DE" dirty="0"/>
            <a:t> Research</a:t>
          </a:r>
        </a:p>
      </dgm:t>
    </dgm:pt>
    <dgm:pt modelId="{42D2377C-A205-4A18-9047-DA9DD6966DB0}" type="parTrans" cxnId="{E4EDA5B5-B8B1-48E1-8185-8BADD9483FF4}">
      <dgm:prSet/>
      <dgm:spPr/>
      <dgm:t>
        <a:bodyPr/>
        <a:lstStyle/>
        <a:p>
          <a:endParaRPr lang="de-DE"/>
        </a:p>
      </dgm:t>
    </dgm:pt>
    <dgm:pt modelId="{925EDFBB-BB3C-4E88-823D-CC1D0607EE1B}" type="sibTrans" cxnId="{E4EDA5B5-B8B1-48E1-8185-8BADD9483FF4}">
      <dgm:prSet/>
      <dgm:spPr/>
      <dgm:t>
        <a:bodyPr/>
        <a:lstStyle/>
        <a:p>
          <a:endParaRPr lang="de-DE"/>
        </a:p>
      </dgm:t>
    </dgm:pt>
    <dgm:pt modelId="{07B0F400-F2C9-4FE4-9E42-903EC01FFC5C}">
      <dgm:prSet phldrT="[Text]" custT="1">
        <dgm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dgm:style>
      </dgm:prSet>
      <dgm:spPr/>
      <dgm:t>
        <a:bodyPr/>
        <a:lstStyle/>
        <a:p>
          <a:r>
            <a:rPr lang="de-DE" sz="1400" dirty="0"/>
            <a:t>Definition </a:t>
          </a:r>
          <a:r>
            <a:rPr lang="de-DE" sz="1400" dirty="0" err="1"/>
            <a:t>of</a:t>
          </a:r>
          <a:r>
            <a:rPr lang="de-DE" sz="1400" dirty="0"/>
            <a:t> </a:t>
          </a:r>
          <a:r>
            <a:rPr lang="de-DE" sz="1400" dirty="0" err="1"/>
            <a:t>the</a:t>
          </a:r>
          <a:r>
            <a:rPr lang="de-DE" sz="1400" dirty="0"/>
            <a:t> Graph and Diffusion Model</a:t>
          </a:r>
        </a:p>
      </dgm:t>
    </dgm:pt>
    <dgm:pt modelId="{2869FB09-CF90-4A79-9353-7431CC7E0BF6}" type="parTrans" cxnId="{0675B573-035D-4B8B-AC3F-B42AED592C42}">
      <dgm:prSet/>
      <dgm:spPr/>
      <dgm:t>
        <a:bodyPr/>
        <a:lstStyle/>
        <a:p>
          <a:endParaRPr lang="de-DE"/>
        </a:p>
      </dgm:t>
    </dgm:pt>
    <dgm:pt modelId="{3E5EFEAD-0770-4E55-AD1A-A720F5971786}" type="sibTrans" cxnId="{0675B573-035D-4B8B-AC3F-B42AED592C42}">
      <dgm:prSet/>
      <dgm:spPr/>
      <dgm:t>
        <a:bodyPr/>
        <a:lstStyle/>
        <a:p>
          <a:endParaRPr lang="de-DE"/>
        </a:p>
      </dgm:t>
    </dgm:pt>
    <dgm:pt modelId="{8D3BE5B1-B3FC-4A2C-9CCD-ACA18B286D0C}">
      <dgm:prSet phldrT="[Text]">
        <dgm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dgm:style>
      </dgm:prSet>
      <dgm:spPr/>
      <dgm:t>
        <a:bodyPr/>
        <a:lstStyle/>
        <a:p>
          <a:r>
            <a:rPr lang="de-DE" dirty="0"/>
            <a:t>Implementation </a:t>
          </a:r>
          <a:r>
            <a:rPr lang="de-DE" dirty="0" err="1"/>
            <a:t>of</a:t>
          </a:r>
          <a:r>
            <a:rPr lang="de-DE" dirty="0"/>
            <a:t> </a:t>
          </a:r>
          <a:r>
            <a:rPr lang="de-DE" dirty="0" err="1"/>
            <a:t>the</a:t>
          </a:r>
          <a:r>
            <a:rPr lang="de-DE" dirty="0"/>
            <a:t> Simulator</a:t>
          </a:r>
        </a:p>
      </dgm:t>
    </dgm:pt>
    <dgm:pt modelId="{117B0738-A474-4D1D-AC3D-3146F1AE57C1}" type="parTrans" cxnId="{89B0C97D-AA50-414B-9E31-475F207730DB}">
      <dgm:prSet/>
      <dgm:spPr/>
      <dgm:t>
        <a:bodyPr/>
        <a:lstStyle/>
        <a:p>
          <a:endParaRPr lang="de-DE"/>
        </a:p>
      </dgm:t>
    </dgm:pt>
    <dgm:pt modelId="{292947A2-A94C-4AD8-84A6-1879CFBFE60C}" type="sibTrans" cxnId="{89B0C97D-AA50-414B-9E31-475F207730DB}">
      <dgm:prSet/>
      <dgm:spPr/>
      <dgm:t>
        <a:bodyPr/>
        <a:lstStyle/>
        <a:p>
          <a:endParaRPr lang="de-DE"/>
        </a:p>
      </dgm:t>
    </dgm:pt>
    <dgm:pt modelId="{23B28723-C971-4774-B3C5-9A84C8A0B8E3}">
      <dgm:prSet phldrT="[Text]"/>
      <dgm:spPr/>
      <dgm:t>
        <a:bodyPr/>
        <a:lstStyle/>
        <a:p>
          <a:r>
            <a:rPr lang="de-DE" dirty="0"/>
            <a:t>Implementation </a:t>
          </a:r>
          <a:r>
            <a:rPr lang="de-DE" dirty="0" err="1"/>
            <a:t>of</a:t>
          </a:r>
          <a:r>
            <a:rPr lang="de-DE" dirty="0"/>
            <a:t> </a:t>
          </a:r>
          <a:r>
            <a:rPr lang="de-DE" dirty="0" err="1"/>
            <a:t>the</a:t>
          </a:r>
          <a:r>
            <a:rPr lang="de-DE" dirty="0"/>
            <a:t> Parameter </a:t>
          </a:r>
          <a:r>
            <a:rPr lang="de-DE" dirty="0" err="1"/>
            <a:t>Estimators</a:t>
          </a:r>
          <a:endParaRPr lang="de-DE" dirty="0"/>
        </a:p>
      </dgm:t>
    </dgm:pt>
    <dgm:pt modelId="{45EFB868-5D21-4A39-A721-3DD36D3F0555}" type="parTrans" cxnId="{671FE5E5-085F-4B08-BEF0-514D37115D67}">
      <dgm:prSet/>
      <dgm:spPr/>
      <dgm:t>
        <a:bodyPr/>
        <a:lstStyle/>
        <a:p>
          <a:endParaRPr lang="de-DE"/>
        </a:p>
      </dgm:t>
    </dgm:pt>
    <dgm:pt modelId="{54543467-535D-4B73-8178-13F3B5942001}" type="sibTrans" cxnId="{671FE5E5-085F-4B08-BEF0-514D37115D67}">
      <dgm:prSet/>
      <dgm:spPr/>
      <dgm:t>
        <a:bodyPr/>
        <a:lstStyle/>
        <a:p>
          <a:endParaRPr lang="de-DE"/>
        </a:p>
      </dgm:t>
    </dgm:pt>
    <dgm:pt modelId="{1D5B33A5-BE46-4D7F-9DD6-3C08CFA18672}">
      <dgm:prSet phldrT="[Text]"/>
      <dgm:spPr/>
      <dgm:t>
        <a:bodyPr/>
        <a:lstStyle/>
        <a:p>
          <a:r>
            <a:rPr lang="de-DE" dirty="0"/>
            <a:t>Find </a:t>
          </a:r>
          <a:r>
            <a:rPr lang="de-DE" dirty="0" err="1"/>
            <a:t>usuable</a:t>
          </a:r>
          <a:r>
            <a:rPr lang="de-DE" dirty="0"/>
            <a:t> Test Data</a:t>
          </a:r>
        </a:p>
      </dgm:t>
    </dgm:pt>
    <dgm:pt modelId="{FE319EC9-C64C-4E98-9890-D8D0DB8F55EC}" type="parTrans" cxnId="{AE420F6B-2606-4187-8200-9AD0FD795217}">
      <dgm:prSet/>
      <dgm:spPr/>
      <dgm:t>
        <a:bodyPr/>
        <a:lstStyle/>
        <a:p>
          <a:endParaRPr lang="de-DE"/>
        </a:p>
      </dgm:t>
    </dgm:pt>
    <dgm:pt modelId="{383467FF-4096-4945-9C3E-DF2E595701DB}" type="sibTrans" cxnId="{AE420F6B-2606-4187-8200-9AD0FD795217}">
      <dgm:prSet/>
      <dgm:spPr/>
      <dgm:t>
        <a:bodyPr/>
        <a:lstStyle/>
        <a:p>
          <a:endParaRPr lang="de-DE"/>
        </a:p>
      </dgm:t>
    </dgm:pt>
    <dgm:pt modelId="{436CE51B-88CD-4554-8058-2D122672DDA6}">
      <dgm:prSet phldrT="[Text]"/>
      <dgm:spPr/>
      <dgm:t>
        <a:bodyPr/>
        <a:lstStyle/>
        <a:p>
          <a:r>
            <a:rPr lang="de-DE" dirty="0" err="1"/>
            <a:t>Evaluate</a:t>
          </a:r>
          <a:r>
            <a:rPr lang="de-DE" dirty="0"/>
            <a:t> Method</a:t>
          </a:r>
        </a:p>
      </dgm:t>
    </dgm:pt>
    <dgm:pt modelId="{8F8D4055-8CC6-4D94-AC30-BA4D4CBD87D0}" type="parTrans" cxnId="{E13CC11D-37F3-47E3-BA91-464FBB55D2E1}">
      <dgm:prSet/>
      <dgm:spPr/>
      <dgm:t>
        <a:bodyPr/>
        <a:lstStyle/>
        <a:p>
          <a:endParaRPr lang="de-DE"/>
        </a:p>
      </dgm:t>
    </dgm:pt>
    <dgm:pt modelId="{5167E0A4-A594-419C-9667-56E9C5790B0F}" type="sibTrans" cxnId="{E13CC11D-37F3-47E3-BA91-464FBB55D2E1}">
      <dgm:prSet/>
      <dgm:spPr/>
      <dgm:t>
        <a:bodyPr/>
        <a:lstStyle/>
        <a:p>
          <a:endParaRPr lang="de-DE"/>
        </a:p>
      </dgm:t>
    </dgm:pt>
    <dgm:pt modelId="{61A1A7FF-D629-4AE9-AFF9-9BDA9572CA18}" type="pres">
      <dgm:prSet presAssocID="{20BBA37C-E49C-4BCC-ABDD-3701E4539CD8}" presName="Name0" presStyleCnt="0">
        <dgm:presLayoutVars>
          <dgm:dir/>
          <dgm:resizeHandles val="exact"/>
        </dgm:presLayoutVars>
      </dgm:prSet>
      <dgm:spPr/>
    </dgm:pt>
    <dgm:pt modelId="{1FAE9A4C-2B9C-4D64-87A9-7CA7C88C2FE8}" type="pres">
      <dgm:prSet presAssocID="{85CE94F9-D573-496C-8F4A-58CAC04920B9}" presName="parTxOnly" presStyleLbl="node1" presStyleIdx="0" presStyleCnt="6">
        <dgm:presLayoutVars>
          <dgm:bulletEnabled val="1"/>
        </dgm:presLayoutVars>
      </dgm:prSet>
      <dgm:spPr/>
    </dgm:pt>
    <dgm:pt modelId="{131952FE-AD64-45E7-9B7D-0821D81EA7EA}" type="pres">
      <dgm:prSet presAssocID="{925EDFBB-BB3C-4E88-823D-CC1D0607EE1B}" presName="parSpace" presStyleCnt="0"/>
      <dgm:spPr/>
    </dgm:pt>
    <dgm:pt modelId="{099B4CAB-A6C2-4F23-B178-BD63E2179F59}" type="pres">
      <dgm:prSet presAssocID="{07B0F400-F2C9-4FE4-9E42-903EC01FFC5C}" presName="parTxOnly" presStyleLbl="node1" presStyleIdx="1" presStyleCnt="6">
        <dgm:presLayoutVars>
          <dgm:bulletEnabled val="1"/>
        </dgm:presLayoutVars>
      </dgm:prSet>
      <dgm:spPr/>
    </dgm:pt>
    <dgm:pt modelId="{B51AC7EB-BBB3-48A4-846C-030AEAB71C8B}" type="pres">
      <dgm:prSet presAssocID="{3E5EFEAD-0770-4E55-AD1A-A720F5971786}" presName="parSpace" presStyleCnt="0"/>
      <dgm:spPr/>
    </dgm:pt>
    <dgm:pt modelId="{E3A27E1D-A24D-42CA-B68F-AC9EB27C76B1}" type="pres">
      <dgm:prSet presAssocID="{8D3BE5B1-B3FC-4A2C-9CCD-ACA18B286D0C}" presName="parTxOnly" presStyleLbl="node1" presStyleIdx="2" presStyleCnt="6">
        <dgm:presLayoutVars>
          <dgm:bulletEnabled val="1"/>
        </dgm:presLayoutVars>
      </dgm:prSet>
      <dgm:spPr/>
    </dgm:pt>
    <dgm:pt modelId="{EED31798-9696-4CD5-B373-46C441509447}" type="pres">
      <dgm:prSet presAssocID="{292947A2-A94C-4AD8-84A6-1879CFBFE60C}" presName="parSpace" presStyleCnt="0"/>
      <dgm:spPr/>
    </dgm:pt>
    <dgm:pt modelId="{C4DE94CA-6DE3-428F-9B95-A2D3302FF049}" type="pres">
      <dgm:prSet presAssocID="{23B28723-C971-4774-B3C5-9A84C8A0B8E3}" presName="parTxOnly" presStyleLbl="node1" presStyleIdx="3" presStyleCnt="6">
        <dgm:presLayoutVars>
          <dgm:bulletEnabled val="1"/>
        </dgm:presLayoutVars>
      </dgm:prSet>
      <dgm:spPr/>
    </dgm:pt>
    <dgm:pt modelId="{E7AF0474-A829-4F61-BC8E-6FE164F04CFB}" type="pres">
      <dgm:prSet presAssocID="{54543467-535D-4B73-8178-13F3B5942001}" presName="parSpace" presStyleCnt="0"/>
      <dgm:spPr/>
    </dgm:pt>
    <dgm:pt modelId="{83F10EF0-7593-4B18-BC44-32C519546D62}" type="pres">
      <dgm:prSet presAssocID="{1D5B33A5-BE46-4D7F-9DD6-3C08CFA18672}" presName="parTxOnly" presStyleLbl="node1" presStyleIdx="4" presStyleCnt="6">
        <dgm:presLayoutVars>
          <dgm:bulletEnabled val="1"/>
        </dgm:presLayoutVars>
      </dgm:prSet>
      <dgm:spPr/>
    </dgm:pt>
    <dgm:pt modelId="{693375C3-3E20-4010-9119-A2E9D3E9607F}" type="pres">
      <dgm:prSet presAssocID="{383467FF-4096-4945-9C3E-DF2E595701DB}" presName="parSpace" presStyleCnt="0"/>
      <dgm:spPr/>
    </dgm:pt>
    <dgm:pt modelId="{828933F3-B2F1-42EF-B27A-C582AF39549F}" type="pres">
      <dgm:prSet presAssocID="{436CE51B-88CD-4554-8058-2D122672DDA6}" presName="parTxOnly" presStyleLbl="node1" presStyleIdx="5" presStyleCnt="6">
        <dgm:presLayoutVars>
          <dgm:bulletEnabled val="1"/>
        </dgm:presLayoutVars>
      </dgm:prSet>
      <dgm:spPr/>
    </dgm:pt>
  </dgm:ptLst>
  <dgm:cxnLst>
    <dgm:cxn modelId="{E6251400-1F8F-4B15-867D-583A94A99FE4}" type="presOf" srcId="{8D3BE5B1-B3FC-4A2C-9CCD-ACA18B286D0C}" destId="{E3A27E1D-A24D-42CA-B68F-AC9EB27C76B1}" srcOrd="0" destOrd="0" presId="urn:microsoft.com/office/officeart/2005/8/layout/hChevron3"/>
    <dgm:cxn modelId="{E13CC11D-37F3-47E3-BA91-464FBB55D2E1}" srcId="{20BBA37C-E49C-4BCC-ABDD-3701E4539CD8}" destId="{436CE51B-88CD-4554-8058-2D122672DDA6}" srcOrd="5" destOrd="0" parTransId="{8F8D4055-8CC6-4D94-AC30-BA4D4CBD87D0}" sibTransId="{5167E0A4-A594-419C-9667-56E9C5790B0F}"/>
    <dgm:cxn modelId="{686D1D47-C816-4BCE-AAB6-0132B3348C37}" type="presOf" srcId="{1D5B33A5-BE46-4D7F-9DD6-3C08CFA18672}" destId="{83F10EF0-7593-4B18-BC44-32C519546D62}" srcOrd="0" destOrd="0" presId="urn:microsoft.com/office/officeart/2005/8/layout/hChevron3"/>
    <dgm:cxn modelId="{AE420F6B-2606-4187-8200-9AD0FD795217}" srcId="{20BBA37C-E49C-4BCC-ABDD-3701E4539CD8}" destId="{1D5B33A5-BE46-4D7F-9DD6-3C08CFA18672}" srcOrd="4" destOrd="0" parTransId="{FE319EC9-C64C-4E98-9890-D8D0DB8F55EC}" sibTransId="{383467FF-4096-4945-9C3E-DF2E595701DB}"/>
    <dgm:cxn modelId="{69FA3353-1A13-4CC3-BCD9-8C5ABEDB41A0}" type="presOf" srcId="{85CE94F9-D573-496C-8F4A-58CAC04920B9}" destId="{1FAE9A4C-2B9C-4D64-87A9-7CA7C88C2FE8}" srcOrd="0" destOrd="0" presId="urn:microsoft.com/office/officeart/2005/8/layout/hChevron3"/>
    <dgm:cxn modelId="{0675B573-035D-4B8B-AC3F-B42AED592C42}" srcId="{20BBA37C-E49C-4BCC-ABDD-3701E4539CD8}" destId="{07B0F400-F2C9-4FE4-9E42-903EC01FFC5C}" srcOrd="1" destOrd="0" parTransId="{2869FB09-CF90-4A79-9353-7431CC7E0BF6}" sibTransId="{3E5EFEAD-0770-4E55-AD1A-A720F5971786}"/>
    <dgm:cxn modelId="{89B0C97D-AA50-414B-9E31-475F207730DB}" srcId="{20BBA37C-E49C-4BCC-ABDD-3701E4539CD8}" destId="{8D3BE5B1-B3FC-4A2C-9CCD-ACA18B286D0C}" srcOrd="2" destOrd="0" parTransId="{117B0738-A474-4D1D-AC3D-3146F1AE57C1}" sibTransId="{292947A2-A94C-4AD8-84A6-1879CFBFE60C}"/>
    <dgm:cxn modelId="{D431ED8D-898A-40F0-8019-ADB846CEBDCE}" type="presOf" srcId="{436CE51B-88CD-4554-8058-2D122672DDA6}" destId="{828933F3-B2F1-42EF-B27A-C582AF39549F}" srcOrd="0" destOrd="0" presId="urn:microsoft.com/office/officeart/2005/8/layout/hChevron3"/>
    <dgm:cxn modelId="{E4EDA5B5-B8B1-48E1-8185-8BADD9483FF4}" srcId="{20BBA37C-E49C-4BCC-ABDD-3701E4539CD8}" destId="{85CE94F9-D573-496C-8F4A-58CAC04920B9}" srcOrd="0" destOrd="0" parTransId="{42D2377C-A205-4A18-9047-DA9DD6966DB0}" sibTransId="{925EDFBB-BB3C-4E88-823D-CC1D0607EE1B}"/>
    <dgm:cxn modelId="{DC08D0B8-61EE-4AE9-BCB8-DF7B8ED44BFE}" type="presOf" srcId="{23B28723-C971-4774-B3C5-9A84C8A0B8E3}" destId="{C4DE94CA-6DE3-428F-9B95-A2D3302FF049}" srcOrd="0" destOrd="0" presId="urn:microsoft.com/office/officeart/2005/8/layout/hChevron3"/>
    <dgm:cxn modelId="{445DEBDA-A768-4A2F-9159-3F9C8ABDB28C}" type="presOf" srcId="{07B0F400-F2C9-4FE4-9E42-903EC01FFC5C}" destId="{099B4CAB-A6C2-4F23-B178-BD63E2179F59}" srcOrd="0" destOrd="0" presId="urn:microsoft.com/office/officeart/2005/8/layout/hChevron3"/>
    <dgm:cxn modelId="{671FE5E5-085F-4B08-BEF0-514D37115D67}" srcId="{20BBA37C-E49C-4BCC-ABDD-3701E4539CD8}" destId="{23B28723-C971-4774-B3C5-9A84C8A0B8E3}" srcOrd="3" destOrd="0" parTransId="{45EFB868-5D21-4A39-A721-3DD36D3F0555}" sibTransId="{54543467-535D-4B73-8178-13F3B5942001}"/>
    <dgm:cxn modelId="{01A7DCF2-15C0-4DDB-9657-0BCCCB4FFAEE}" type="presOf" srcId="{20BBA37C-E49C-4BCC-ABDD-3701E4539CD8}" destId="{61A1A7FF-D629-4AE9-AFF9-9BDA9572CA18}" srcOrd="0" destOrd="0" presId="urn:microsoft.com/office/officeart/2005/8/layout/hChevron3"/>
    <dgm:cxn modelId="{DAF30417-DCA8-438A-94B4-093679D38814}" type="presParOf" srcId="{61A1A7FF-D629-4AE9-AFF9-9BDA9572CA18}" destId="{1FAE9A4C-2B9C-4D64-87A9-7CA7C88C2FE8}" srcOrd="0" destOrd="0" presId="urn:microsoft.com/office/officeart/2005/8/layout/hChevron3"/>
    <dgm:cxn modelId="{CA3CA49D-BD14-4CC7-8E45-13225F3E97A4}" type="presParOf" srcId="{61A1A7FF-D629-4AE9-AFF9-9BDA9572CA18}" destId="{131952FE-AD64-45E7-9B7D-0821D81EA7EA}" srcOrd="1" destOrd="0" presId="urn:microsoft.com/office/officeart/2005/8/layout/hChevron3"/>
    <dgm:cxn modelId="{3274020C-3042-49B0-8229-BED72B829FF3}" type="presParOf" srcId="{61A1A7FF-D629-4AE9-AFF9-9BDA9572CA18}" destId="{099B4CAB-A6C2-4F23-B178-BD63E2179F59}" srcOrd="2" destOrd="0" presId="urn:microsoft.com/office/officeart/2005/8/layout/hChevron3"/>
    <dgm:cxn modelId="{70C54650-3C22-4046-A112-85BF49A524B2}" type="presParOf" srcId="{61A1A7FF-D629-4AE9-AFF9-9BDA9572CA18}" destId="{B51AC7EB-BBB3-48A4-846C-030AEAB71C8B}" srcOrd="3" destOrd="0" presId="urn:microsoft.com/office/officeart/2005/8/layout/hChevron3"/>
    <dgm:cxn modelId="{68D402AD-C462-4954-B3EC-82821574E0AD}" type="presParOf" srcId="{61A1A7FF-D629-4AE9-AFF9-9BDA9572CA18}" destId="{E3A27E1D-A24D-42CA-B68F-AC9EB27C76B1}" srcOrd="4" destOrd="0" presId="urn:microsoft.com/office/officeart/2005/8/layout/hChevron3"/>
    <dgm:cxn modelId="{0367AF89-F8CF-4BD3-97A7-E17541F047DE}" type="presParOf" srcId="{61A1A7FF-D629-4AE9-AFF9-9BDA9572CA18}" destId="{EED31798-9696-4CD5-B373-46C441509447}" srcOrd="5" destOrd="0" presId="urn:microsoft.com/office/officeart/2005/8/layout/hChevron3"/>
    <dgm:cxn modelId="{AB40C617-A992-4F8E-96F0-C879D775DD9F}" type="presParOf" srcId="{61A1A7FF-D629-4AE9-AFF9-9BDA9572CA18}" destId="{C4DE94CA-6DE3-428F-9B95-A2D3302FF049}" srcOrd="6" destOrd="0" presId="urn:microsoft.com/office/officeart/2005/8/layout/hChevron3"/>
    <dgm:cxn modelId="{52B24DCE-CCF5-4398-9BBD-D9D93759A244}" type="presParOf" srcId="{61A1A7FF-D629-4AE9-AFF9-9BDA9572CA18}" destId="{E7AF0474-A829-4F61-BC8E-6FE164F04CFB}" srcOrd="7" destOrd="0" presId="urn:microsoft.com/office/officeart/2005/8/layout/hChevron3"/>
    <dgm:cxn modelId="{A1B62065-C4FC-41BD-94E5-47272BA7CC5E}" type="presParOf" srcId="{61A1A7FF-D629-4AE9-AFF9-9BDA9572CA18}" destId="{83F10EF0-7593-4B18-BC44-32C519546D62}" srcOrd="8" destOrd="0" presId="urn:microsoft.com/office/officeart/2005/8/layout/hChevron3"/>
    <dgm:cxn modelId="{BC87865E-BECF-4055-9312-603B25F8918F}" type="presParOf" srcId="{61A1A7FF-D629-4AE9-AFF9-9BDA9572CA18}" destId="{693375C3-3E20-4010-9119-A2E9D3E9607F}" srcOrd="9" destOrd="0" presId="urn:microsoft.com/office/officeart/2005/8/layout/hChevron3"/>
    <dgm:cxn modelId="{9A921267-994D-4D77-8D5A-51006BF0D3A5}" type="presParOf" srcId="{61A1A7FF-D629-4AE9-AFF9-9BDA9572CA18}" destId="{828933F3-B2F1-42EF-B27A-C582AF39549F}" srcOrd="10" destOrd="0" presId="urn:microsoft.com/office/officeart/2005/8/layout/hChevron3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0CEE715-3D35-42A0-BE4D-12B172B9F8EA}">
      <dsp:nvSpPr>
        <dsp:cNvPr id="0" name=""/>
        <dsp:cNvSpPr/>
      </dsp:nvSpPr>
      <dsp:spPr>
        <a:xfrm>
          <a:off x="0" y="203"/>
          <a:ext cx="3185426" cy="839272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30480" rIns="45720" bIns="3048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400" kern="1200" dirty="0"/>
            <a:t>Non-</a:t>
          </a:r>
          <a:r>
            <a:rPr lang="de-DE" sz="2400" kern="1200" dirty="0" err="1"/>
            <a:t>behavior</a:t>
          </a:r>
          <a:r>
            <a:rPr lang="de-DE" sz="2400" kern="1200" dirty="0"/>
            <a:t>-</a:t>
          </a:r>
          <a:r>
            <a:rPr lang="de-DE" sz="2400" kern="1200" dirty="0" err="1"/>
            <a:t>based</a:t>
          </a:r>
          <a:r>
            <a:rPr lang="de-DE" sz="2400" kern="1200" dirty="0"/>
            <a:t> Variables</a:t>
          </a:r>
        </a:p>
      </dsp:txBody>
      <dsp:txXfrm>
        <a:off x="24581" y="24784"/>
        <a:ext cx="3136264" cy="790110"/>
      </dsp:txXfrm>
    </dsp:sp>
    <dsp:sp modelId="{02A0B113-0600-412A-9DC9-0CB4C86240C9}">
      <dsp:nvSpPr>
        <dsp:cNvPr id="0" name=""/>
        <dsp:cNvSpPr/>
      </dsp:nvSpPr>
      <dsp:spPr>
        <a:xfrm>
          <a:off x="318542" y="839475"/>
          <a:ext cx="233435" cy="627910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627910"/>
              </a:lnTo>
              <a:lnTo>
                <a:pt x="233435" y="627910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6756D7FE-4CD0-4330-9990-A1E5CD0430D7}">
      <dsp:nvSpPr>
        <dsp:cNvPr id="0" name=""/>
        <dsp:cNvSpPr/>
      </dsp:nvSpPr>
      <dsp:spPr>
        <a:xfrm>
          <a:off x="551978" y="1047749"/>
          <a:ext cx="1342836" cy="839272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4290" tIns="22860" rIns="34290" bIns="2286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800" kern="1200" dirty="0"/>
            <a:t>Historical Power Load</a:t>
          </a:r>
        </a:p>
      </dsp:txBody>
      <dsp:txXfrm>
        <a:off x="576559" y="1072330"/>
        <a:ext cx="1293674" cy="790110"/>
      </dsp:txXfrm>
    </dsp:sp>
    <dsp:sp modelId="{9C1EE911-2B8C-423A-A5C5-C7BE96855221}">
      <dsp:nvSpPr>
        <dsp:cNvPr id="0" name=""/>
        <dsp:cNvSpPr/>
      </dsp:nvSpPr>
      <dsp:spPr>
        <a:xfrm>
          <a:off x="318542" y="839475"/>
          <a:ext cx="233435" cy="167508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675088"/>
              </a:lnTo>
              <a:lnTo>
                <a:pt x="233435" y="1675088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56A2AC68-48D6-4A41-8432-5DE28A879A81}">
      <dsp:nvSpPr>
        <dsp:cNvPr id="0" name=""/>
        <dsp:cNvSpPr/>
      </dsp:nvSpPr>
      <dsp:spPr>
        <a:xfrm>
          <a:off x="551978" y="2094927"/>
          <a:ext cx="1342836" cy="839272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4290" tIns="22860" rIns="34290" bIns="2286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800" kern="1200" dirty="0" err="1"/>
            <a:t>Weather</a:t>
          </a:r>
          <a:endParaRPr lang="de-DE" sz="1800" kern="1200" dirty="0"/>
        </a:p>
      </dsp:txBody>
      <dsp:txXfrm>
        <a:off x="576559" y="2119508"/>
        <a:ext cx="1293674" cy="790110"/>
      </dsp:txXfrm>
    </dsp:sp>
    <dsp:sp modelId="{58B1074D-0F5C-4728-9218-072CFFBFA7F1}">
      <dsp:nvSpPr>
        <dsp:cNvPr id="0" name=""/>
        <dsp:cNvSpPr/>
      </dsp:nvSpPr>
      <dsp:spPr>
        <a:xfrm>
          <a:off x="318542" y="839475"/>
          <a:ext cx="206847" cy="2705043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705043"/>
              </a:lnTo>
              <a:lnTo>
                <a:pt x="206847" y="2705043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AEF9AC03-0D36-4876-87D2-7AAFB54A0227}">
      <dsp:nvSpPr>
        <dsp:cNvPr id="0" name=""/>
        <dsp:cNvSpPr/>
      </dsp:nvSpPr>
      <dsp:spPr>
        <a:xfrm>
          <a:off x="525389" y="3124883"/>
          <a:ext cx="1342836" cy="839272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4290" tIns="22860" rIns="34290" bIns="2286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800" kern="1200" dirty="0"/>
            <a:t>Time</a:t>
          </a:r>
        </a:p>
      </dsp:txBody>
      <dsp:txXfrm>
        <a:off x="549970" y="3149464"/>
        <a:ext cx="1293674" cy="790110"/>
      </dsp:txXfrm>
    </dsp:sp>
    <dsp:sp modelId="{791D703C-F533-4BAF-BDE8-DD51435A86B4}">
      <dsp:nvSpPr>
        <dsp:cNvPr id="0" name=""/>
        <dsp:cNvSpPr/>
      </dsp:nvSpPr>
      <dsp:spPr>
        <a:xfrm>
          <a:off x="318542" y="839475"/>
          <a:ext cx="205464" cy="3781444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3781444"/>
              </a:lnTo>
              <a:lnTo>
                <a:pt x="205464" y="3781444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5997D142-ED57-4FC5-BE61-92C7A3297D8E}">
      <dsp:nvSpPr>
        <dsp:cNvPr id="0" name=""/>
        <dsp:cNvSpPr/>
      </dsp:nvSpPr>
      <dsp:spPr>
        <a:xfrm>
          <a:off x="524006" y="4201284"/>
          <a:ext cx="1342836" cy="839272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4290" tIns="22860" rIns="34290" bIns="2286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800" kern="1200" dirty="0"/>
            <a:t>…</a:t>
          </a:r>
        </a:p>
      </dsp:txBody>
      <dsp:txXfrm>
        <a:off x="548587" y="4225865"/>
        <a:ext cx="1293674" cy="790110"/>
      </dsp:txXfrm>
    </dsp:sp>
    <dsp:sp modelId="{2A66DC7D-BDF3-4751-A4D3-67EB48BAAC5F}">
      <dsp:nvSpPr>
        <dsp:cNvPr id="0" name=""/>
        <dsp:cNvSpPr/>
      </dsp:nvSpPr>
      <dsp:spPr>
        <a:xfrm>
          <a:off x="4151022" y="2460"/>
          <a:ext cx="3223899" cy="839272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30480" rIns="45720" bIns="3048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400" kern="1200" dirty="0" err="1"/>
            <a:t>Behavior-based</a:t>
          </a:r>
          <a:r>
            <a:rPr lang="de-DE" sz="2400" kern="1200" dirty="0"/>
            <a:t> Variables</a:t>
          </a:r>
        </a:p>
      </dsp:txBody>
      <dsp:txXfrm>
        <a:off x="4175603" y="27041"/>
        <a:ext cx="3174737" cy="790110"/>
      </dsp:txXfrm>
    </dsp:sp>
    <dsp:sp modelId="{0B6E15B1-D3C4-4A12-B25D-F82ADEC64178}">
      <dsp:nvSpPr>
        <dsp:cNvPr id="0" name=""/>
        <dsp:cNvSpPr/>
      </dsp:nvSpPr>
      <dsp:spPr>
        <a:xfrm>
          <a:off x="4473412" y="841733"/>
          <a:ext cx="322389" cy="629454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629454"/>
              </a:lnTo>
              <a:lnTo>
                <a:pt x="322389" y="629454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695D0167-DA06-4F35-9C5E-88498FC32FA8}">
      <dsp:nvSpPr>
        <dsp:cNvPr id="0" name=""/>
        <dsp:cNvSpPr/>
      </dsp:nvSpPr>
      <dsp:spPr>
        <a:xfrm>
          <a:off x="4795801" y="1051551"/>
          <a:ext cx="1342836" cy="839272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4290" tIns="22860" rIns="34290" bIns="2286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800" kern="1200" dirty="0" err="1"/>
            <a:t>Social</a:t>
          </a:r>
          <a:r>
            <a:rPr lang="de-DE" sz="1800" kern="1200" dirty="0"/>
            <a:t> </a:t>
          </a:r>
          <a:r>
            <a:rPr lang="de-DE" sz="1800" kern="1200" dirty="0" err="1"/>
            <a:t>media</a:t>
          </a:r>
          <a:endParaRPr lang="de-DE" sz="1800" kern="1200" dirty="0"/>
        </a:p>
      </dsp:txBody>
      <dsp:txXfrm>
        <a:off x="4820382" y="1076132"/>
        <a:ext cx="1293674" cy="790110"/>
      </dsp:txXfrm>
    </dsp:sp>
    <dsp:sp modelId="{7E23E5B5-1E1E-49B5-BFA5-9B1ACC15D04D}">
      <dsp:nvSpPr>
        <dsp:cNvPr id="0" name=""/>
        <dsp:cNvSpPr/>
      </dsp:nvSpPr>
      <dsp:spPr>
        <a:xfrm>
          <a:off x="4473412" y="841733"/>
          <a:ext cx="322389" cy="1678545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678545"/>
              </a:lnTo>
              <a:lnTo>
                <a:pt x="322389" y="1678545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83F77979-CE46-4054-805F-949D8C4BCAA5}">
      <dsp:nvSpPr>
        <dsp:cNvPr id="0" name=""/>
        <dsp:cNvSpPr/>
      </dsp:nvSpPr>
      <dsp:spPr>
        <a:xfrm>
          <a:off x="4795801" y="2100643"/>
          <a:ext cx="1342836" cy="839272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4290" tIns="22860" rIns="34290" bIns="2286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800" kern="1200" dirty="0"/>
            <a:t>Traffic</a:t>
          </a:r>
        </a:p>
      </dsp:txBody>
      <dsp:txXfrm>
        <a:off x="4820382" y="2125224"/>
        <a:ext cx="1293674" cy="790110"/>
      </dsp:txXfrm>
    </dsp:sp>
    <dsp:sp modelId="{87930022-88E2-4A7E-ACFE-72E10DAC527A}">
      <dsp:nvSpPr>
        <dsp:cNvPr id="0" name=""/>
        <dsp:cNvSpPr/>
      </dsp:nvSpPr>
      <dsp:spPr>
        <a:xfrm>
          <a:off x="4473412" y="841733"/>
          <a:ext cx="322389" cy="272763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727637"/>
              </a:lnTo>
              <a:lnTo>
                <a:pt x="322389" y="2727637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10A2390F-D011-4118-A24E-F0202DA7334E}">
      <dsp:nvSpPr>
        <dsp:cNvPr id="0" name=""/>
        <dsp:cNvSpPr/>
      </dsp:nvSpPr>
      <dsp:spPr>
        <a:xfrm>
          <a:off x="4795801" y="3149734"/>
          <a:ext cx="1342836" cy="839272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4290" tIns="22860" rIns="34290" bIns="2286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800" kern="1200" dirty="0" err="1"/>
            <a:t>Satellite</a:t>
          </a:r>
          <a:r>
            <a:rPr lang="de-DE" sz="1800" kern="1200" dirty="0"/>
            <a:t> Images</a:t>
          </a:r>
        </a:p>
      </dsp:txBody>
      <dsp:txXfrm>
        <a:off x="4820382" y="3174315"/>
        <a:ext cx="1293674" cy="790110"/>
      </dsp:txXfrm>
    </dsp:sp>
    <dsp:sp modelId="{841635B0-FB7E-4A9A-A2CC-233E088B1FF5}">
      <dsp:nvSpPr>
        <dsp:cNvPr id="0" name=""/>
        <dsp:cNvSpPr/>
      </dsp:nvSpPr>
      <dsp:spPr>
        <a:xfrm>
          <a:off x="4473412" y="841733"/>
          <a:ext cx="322389" cy="377672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3776728"/>
              </a:lnTo>
              <a:lnTo>
                <a:pt x="322389" y="3776728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06B60F2A-84B1-468E-84E8-0CD800D9891F}">
      <dsp:nvSpPr>
        <dsp:cNvPr id="0" name=""/>
        <dsp:cNvSpPr/>
      </dsp:nvSpPr>
      <dsp:spPr>
        <a:xfrm>
          <a:off x="4795801" y="4198825"/>
          <a:ext cx="1342836" cy="839272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4290" tIns="22860" rIns="34290" bIns="2286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800" kern="1200" dirty="0"/>
            <a:t>…</a:t>
          </a:r>
        </a:p>
      </dsp:txBody>
      <dsp:txXfrm>
        <a:off x="4820382" y="4223406"/>
        <a:ext cx="1293674" cy="790110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FAE9A4C-2B9C-4D64-87A9-7CA7C88C2FE8}">
      <dsp:nvSpPr>
        <dsp:cNvPr id="0" name=""/>
        <dsp:cNvSpPr/>
      </dsp:nvSpPr>
      <dsp:spPr>
        <a:xfrm>
          <a:off x="1406" y="907382"/>
          <a:ext cx="2303852" cy="921540"/>
        </a:xfrm>
        <a:prstGeom prst="homePlate">
          <a:avLst/>
        </a:prstGeom>
        <a:solidFill>
          <a:schemeClr val="lt1"/>
        </a:solidFill>
        <a:ln w="25400" cap="flat" cmpd="sng" algn="ctr">
          <a:solidFill>
            <a:schemeClr val="accent1"/>
          </a:solidFill>
          <a:prstDash val="solid"/>
        </a:ln>
        <a:effectLst/>
      </dsp:spPr>
      <dsp:style>
        <a:lnRef idx="2">
          <a:schemeClr val="accent1"/>
        </a:lnRef>
        <a:fillRef idx="1">
          <a:schemeClr val="lt1"/>
        </a:fillRef>
        <a:effectRef idx="0">
          <a:schemeClr val="accent1"/>
        </a:effectRef>
        <a:fontRef idx="minor">
          <a:schemeClr val="dk1"/>
        </a:fontRef>
      </dsp:style>
      <dsp:txBody>
        <a:bodyPr spcFirstLastPara="0" vert="horz" wrap="square" lIns="80010" tIns="40005" rIns="20003" bIns="40005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500" kern="1200" dirty="0" err="1"/>
            <a:t>Literature</a:t>
          </a:r>
          <a:r>
            <a:rPr lang="de-DE" sz="1500" kern="1200" dirty="0"/>
            <a:t> Research</a:t>
          </a:r>
        </a:p>
      </dsp:txBody>
      <dsp:txXfrm>
        <a:off x="1406" y="907382"/>
        <a:ext cx="2073467" cy="921540"/>
      </dsp:txXfrm>
    </dsp:sp>
    <dsp:sp modelId="{099B4CAB-A6C2-4F23-B178-BD63E2179F59}">
      <dsp:nvSpPr>
        <dsp:cNvPr id="0" name=""/>
        <dsp:cNvSpPr/>
      </dsp:nvSpPr>
      <dsp:spPr>
        <a:xfrm>
          <a:off x="1844488" y="907382"/>
          <a:ext cx="2303852" cy="921540"/>
        </a:xfrm>
        <a:prstGeom prst="chevron">
          <a:avLst/>
        </a:prstGeom>
        <a:solidFill>
          <a:schemeClr val="lt1"/>
        </a:solidFill>
        <a:ln w="25400" cap="flat" cmpd="sng" algn="ctr">
          <a:solidFill>
            <a:schemeClr val="accent1"/>
          </a:solidFill>
          <a:prstDash val="solid"/>
        </a:ln>
        <a:effectLst/>
      </dsp:spPr>
      <dsp:style>
        <a:lnRef idx="2">
          <a:schemeClr val="accent1"/>
        </a:lnRef>
        <a:fillRef idx="1">
          <a:schemeClr val="lt1"/>
        </a:fillRef>
        <a:effectRef idx="0">
          <a:schemeClr val="accent1"/>
        </a:effectRef>
        <a:fontRef idx="minor">
          <a:schemeClr val="dk1"/>
        </a:fontRef>
      </dsp:style>
      <dsp:txBody>
        <a:bodyPr spcFirstLastPara="0" vert="horz" wrap="square" lIns="56007" tIns="37338" rIns="18669" bIns="37338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400" kern="1200" dirty="0"/>
            <a:t>Definition </a:t>
          </a:r>
          <a:r>
            <a:rPr lang="de-DE" sz="1400" kern="1200" dirty="0" err="1"/>
            <a:t>of</a:t>
          </a:r>
          <a:r>
            <a:rPr lang="de-DE" sz="1400" kern="1200" dirty="0"/>
            <a:t> </a:t>
          </a:r>
          <a:r>
            <a:rPr lang="de-DE" sz="1400" kern="1200" dirty="0" err="1"/>
            <a:t>the</a:t>
          </a:r>
          <a:r>
            <a:rPr lang="de-DE" sz="1400" kern="1200" dirty="0"/>
            <a:t> Graph and Diffusion Model</a:t>
          </a:r>
        </a:p>
      </dsp:txBody>
      <dsp:txXfrm>
        <a:off x="2305258" y="907382"/>
        <a:ext cx="1382312" cy="921540"/>
      </dsp:txXfrm>
    </dsp:sp>
    <dsp:sp modelId="{E3A27E1D-A24D-42CA-B68F-AC9EB27C76B1}">
      <dsp:nvSpPr>
        <dsp:cNvPr id="0" name=""/>
        <dsp:cNvSpPr/>
      </dsp:nvSpPr>
      <dsp:spPr>
        <a:xfrm>
          <a:off x="3687570" y="907382"/>
          <a:ext cx="2303852" cy="921540"/>
        </a:xfrm>
        <a:prstGeom prst="chevron">
          <a:avLst/>
        </a:prstGeom>
        <a:solidFill>
          <a:schemeClr val="lt1"/>
        </a:solidFill>
        <a:ln w="25400" cap="flat" cmpd="sng" algn="ctr">
          <a:solidFill>
            <a:schemeClr val="accent1"/>
          </a:solidFill>
          <a:prstDash val="solid"/>
        </a:ln>
        <a:effectLst/>
      </dsp:spPr>
      <dsp:style>
        <a:lnRef idx="2">
          <a:schemeClr val="accent1"/>
        </a:lnRef>
        <a:fillRef idx="1">
          <a:schemeClr val="lt1"/>
        </a:fillRef>
        <a:effectRef idx="0">
          <a:schemeClr val="accent1"/>
        </a:effectRef>
        <a:fontRef idx="minor">
          <a:schemeClr val="dk1"/>
        </a:fontRef>
      </dsp:style>
      <dsp:txBody>
        <a:bodyPr spcFirstLastPara="0" vert="horz" wrap="square" lIns="60008" tIns="40005" rIns="20003" bIns="40005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500" kern="1200" dirty="0"/>
            <a:t>Implementation </a:t>
          </a:r>
          <a:r>
            <a:rPr lang="de-DE" sz="1500" kern="1200" dirty="0" err="1"/>
            <a:t>of</a:t>
          </a:r>
          <a:r>
            <a:rPr lang="de-DE" sz="1500" kern="1200" dirty="0"/>
            <a:t> </a:t>
          </a:r>
          <a:r>
            <a:rPr lang="de-DE" sz="1500" kern="1200" dirty="0" err="1"/>
            <a:t>the</a:t>
          </a:r>
          <a:r>
            <a:rPr lang="de-DE" sz="1500" kern="1200" dirty="0"/>
            <a:t> Simulator</a:t>
          </a:r>
        </a:p>
      </dsp:txBody>
      <dsp:txXfrm>
        <a:off x="4148340" y="907382"/>
        <a:ext cx="1382312" cy="921540"/>
      </dsp:txXfrm>
    </dsp:sp>
    <dsp:sp modelId="{C4DE94CA-6DE3-428F-9B95-A2D3302FF049}">
      <dsp:nvSpPr>
        <dsp:cNvPr id="0" name=""/>
        <dsp:cNvSpPr/>
      </dsp:nvSpPr>
      <dsp:spPr>
        <a:xfrm>
          <a:off x="5530652" y="907382"/>
          <a:ext cx="2303852" cy="921540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008" tIns="40005" rIns="20003" bIns="40005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500" kern="1200" dirty="0"/>
            <a:t>Implementation </a:t>
          </a:r>
          <a:r>
            <a:rPr lang="de-DE" sz="1500" kern="1200" dirty="0" err="1"/>
            <a:t>of</a:t>
          </a:r>
          <a:r>
            <a:rPr lang="de-DE" sz="1500" kern="1200" dirty="0"/>
            <a:t> </a:t>
          </a:r>
          <a:r>
            <a:rPr lang="de-DE" sz="1500" kern="1200" dirty="0" err="1"/>
            <a:t>the</a:t>
          </a:r>
          <a:r>
            <a:rPr lang="de-DE" sz="1500" kern="1200" dirty="0"/>
            <a:t> Parameter </a:t>
          </a:r>
          <a:r>
            <a:rPr lang="de-DE" sz="1500" kern="1200" dirty="0" err="1"/>
            <a:t>Estimators</a:t>
          </a:r>
          <a:endParaRPr lang="de-DE" sz="1500" kern="1200" dirty="0"/>
        </a:p>
      </dsp:txBody>
      <dsp:txXfrm>
        <a:off x="5991422" y="907382"/>
        <a:ext cx="1382312" cy="921540"/>
      </dsp:txXfrm>
    </dsp:sp>
    <dsp:sp modelId="{83F10EF0-7593-4B18-BC44-32C519546D62}">
      <dsp:nvSpPr>
        <dsp:cNvPr id="0" name=""/>
        <dsp:cNvSpPr/>
      </dsp:nvSpPr>
      <dsp:spPr>
        <a:xfrm>
          <a:off x="7373734" y="907382"/>
          <a:ext cx="2303852" cy="921540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008" tIns="40005" rIns="20003" bIns="40005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500" kern="1200" dirty="0"/>
            <a:t>Find </a:t>
          </a:r>
          <a:r>
            <a:rPr lang="de-DE" sz="1500" kern="1200" dirty="0" err="1"/>
            <a:t>usuable</a:t>
          </a:r>
          <a:r>
            <a:rPr lang="de-DE" sz="1500" kern="1200" dirty="0"/>
            <a:t> Test Data</a:t>
          </a:r>
        </a:p>
      </dsp:txBody>
      <dsp:txXfrm>
        <a:off x="7834504" y="907382"/>
        <a:ext cx="1382312" cy="921540"/>
      </dsp:txXfrm>
    </dsp:sp>
    <dsp:sp modelId="{828933F3-B2F1-42EF-B27A-C582AF39549F}">
      <dsp:nvSpPr>
        <dsp:cNvPr id="0" name=""/>
        <dsp:cNvSpPr/>
      </dsp:nvSpPr>
      <dsp:spPr>
        <a:xfrm>
          <a:off x="9216816" y="907382"/>
          <a:ext cx="2303852" cy="921540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008" tIns="40005" rIns="20003" bIns="40005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500" kern="1200" dirty="0" err="1"/>
            <a:t>Evaluate</a:t>
          </a:r>
          <a:r>
            <a:rPr lang="de-DE" sz="1500" kern="1200" dirty="0"/>
            <a:t> Method</a:t>
          </a:r>
        </a:p>
      </dsp:txBody>
      <dsp:txXfrm>
        <a:off x="9677586" y="907382"/>
        <a:ext cx="1382312" cy="921540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ierarchy3">
  <dgm:title val=""/>
  <dgm:desc val=""/>
  <dgm:catLst>
    <dgm:cat type="hierarchy" pri="7000"/>
    <dgm:cat type="list" pri="23000"/>
    <dgm:cat type="relationship" pri="15000"/>
    <dgm:cat type="convert" pri="7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</dgm:ptLst>
      <dgm:cxnLst>
        <dgm:cxn modelId="4" srcId="0" destId="1" srcOrd="0" destOrd="0"/>
        <dgm:cxn modelId="5" srcId="1" destId="11" srcOrd="0" destOrd="0"/>
        <dgm:cxn modelId="6" srcId="1" destId="12" srcOrd="1" destOrd="0"/>
        <dgm:cxn modelId="7" srcId="0" destId="2" srcOrd="1" destOrd="0"/>
        <dgm:cxn modelId="8" srcId="2" destId="21" srcOrd="0" destOrd="0"/>
        <dgm:cxn modelId="9" srcId="2" destId="2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diagram">
    <dgm:varLst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primFontSz" for="des" forName="rootText" op="equ" val="65"/>
      <dgm:constr type="primFontSz" for="des" forName="childText" op="equ" val="65"/>
      <dgm:constr type="w" for="des" forName="rootComposite" refType="w"/>
      <dgm:constr type="h" for="des" forName="rootComposite" refType="w" fact="0.5"/>
      <dgm:constr type="w" for="des" forName="childText" refType="w" refFor="des" refForName="rootComposite" fact="0.8"/>
      <dgm:constr type="h" for="des" forName="childText" refType="h" refFor="des" refForName="rootComposite"/>
      <dgm:constr type="sibSp" refType="w" refFor="des" refForName="rootComposite" fact="0.25"/>
      <dgm:constr type="sibSp" for="des" forName="childShape" refType="h" refFor="des" refForName="childText" fact="0.25"/>
      <dgm:constr type="sp" for="des" forName="root" refType="h" refFor="des" refForName="childText" fact="0.25"/>
    </dgm:constrLst>
    <dgm:ruleLst/>
    <dgm:forEach name="Name3" axis="ch">
      <dgm:forEach name="Name4" axis="self" ptType="node" cnt="1">
        <dgm:layoutNode name="root">
          <dgm:choose name="Name5">
            <dgm:if name="Name6" func="var" arg="dir" op="equ" val="norm">
              <dgm:alg type="hierRoot">
                <dgm:param type="hierAlign" val="tL"/>
              </dgm:alg>
            </dgm:if>
            <dgm:else name="Name7">
              <dgm:alg type="hierRoot">
                <dgm:param type="hierAlign" val="tR"/>
              </dgm:alg>
            </dgm:else>
          </dgm:choose>
          <dgm:shape xmlns:r="http://schemas.openxmlformats.org/officeDocument/2006/relationships" r:blip="">
            <dgm:adjLst/>
          </dgm:shape>
          <dgm:presOf/>
          <dgm:constrLst>
            <dgm:constr type="alignOff" val="0.2"/>
          </dgm:constrLst>
          <dgm:ruleLst/>
          <dgm:layoutNode name="rootComposite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8">
              <dgm:if name="Name9" func="var" arg="dir" op="equ" val="norm">
                <dgm:constrLst>
                  <dgm:constr type="l" for="ch" forName="rootText"/>
                  <dgm:constr type="t" for="ch" forName="rootText"/>
                  <dgm:constr type="w" for="ch" forName="rootText" refType="w"/>
                  <dgm:constr type="h" for="ch" forName="rootText" refType="h"/>
                  <dgm:constr type="l" for="ch" forName="rootConnector"/>
                  <dgm:constr type="t" for="ch" forName="rootConnector"/>
                  <dgm:constr type="w" for="ch" forName="rootConnector" refType="w" refFor="ch" refForName="rootText" fact="0.2"/>
                  <dgm:constr type="h" for="ch" forName="rootConnector" refType="h" refFor="ch" refForName="rootText"/>
                </dgm:constrLst>
              </dgm:if>
              <dgm:else name="Name10">
                <dgm:constrLst>
                  <dgm:constr type="l" for="ch" forName="rootText"/>
                  <dgm:constr type="t" for="ch" forName="rootText"/>
                  <dgm:constr type="w" for="ch" forName="rootText" refType="w"/>
                  <dgm:constr type="h" for="ch" forName="rootText" refType="h"/>
                  <dgm:constr type="r" for="ch" forName="rootConnector" refType="w"/>
                  <dgm:constr type="t" for="ch" forName="rootConnector"/>
                  <dgm:constr type="w" for="ch" forName="rootConnector" refType="w" refFor="ch" refForName="rootText" fact="0.2"/>
                  <dgm:constr type="h" for="ch" forName="rootConnector" refType="h" refFor="ch" refForName="rootText"/>
                </dgm:constrLst>
              </dgm:else>
            </dgm:choose>
            <dgm:ruleLst/>
            <dgm:layoutNode name="rootText" styleLbl="node1">
              <dgm:alg type="tx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self" ptType="node" cnt="1"/>
              <dgm:constrLst>
                <dgm:constr type="tMarg" refType="primFontSz" fact="0.1"/>
                <dgm:constr type="bMarg" refType="primFontSz" fact="0.1"/>
                <dgm:constr type="lMarg" refType="primFontSz" fact="0.15"/>
                <dgm:constr type="rMarg" refType="primFontSz" fact="0.15"/>
              </dgm:constrLst>
              <dgm:ruleLst>
                <dgm:rule type="primFontSz" val="5" fact="NaN" max="NaN"/>
              </dgm:ruleLst>
            </dgm:layoutNode>
            <dgm:layoutNode name="rootConnector" moveWith="rootText">
              <dgm:alg type="sp"/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self" ptType="node" cnt="1"/>
              <dgm:constrLst/>
              <dgm:ruleLst/>
            </dgm:layoutNode>
          </dgm:layoutNode>
          <dgm:layoutNode name="childShape">
            <dgm:alg type="hierChild">
              <dgm:param type="chAlign" val="l"/>
              <dgm:param type="linDir" val="fromT"/>
            </dgm:alg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Name11" axis="ch">
              <dgm:forEach name="Name12" axis="self" ptType="parTrans" cnt="1">
                <dgm:layoutNode name="Name13">
                  <dgm:choose name="Name14">
                    <dgm:if name="Name15" func="var" arg="dir" op="equ" val="norm">
                      <dgm:alg type="conn">
                        <dgm:param type="dim" val="1D"/>
                        <dgm:param type="endSty" val="noArr"/>
                        <dgm:param type="connRout" val="bend"/>
                        <dgm:param type="srcNode" val="rootConnector"/>
                        <dgm:param type="begPts" val="bCtr"/>
                        <dgm:param type="endPts" val="midL"/>
                      </dgm:alg>
                    </dgm:if>
                    <dgm:else name="Name16">
                      <dgm:alg type="conn">
                        <dgm:param type="dim" val="1D"/>
                        <dgm:param type="endSty" val="noArr"/>
                        <dgm:param type="connRout" val="bend"/>
                        <dgm:param type="srcNode" val="rootConnector"/>
                        <dgm:param type="begPts" val="bCtr"/>
                        <dgm:param type="endPts" val="midR"/>
                      </dgm:alg>
                    </dgm:else>
                  </dgm:choose>
                  <dgm:shape xmlns:r="http://schemas.openxmlformats.org/officeDocument/2006/relationships" type="conn" r:blip="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forEach name="Name17" axis="self" ptType="node">
                <dgm:layoutNode name="childText" styleLbl="bgAcc1">
                  <dgm:varLst>
                    <dgm:bulletEnabled val="1"/>
                  </dgm:varLst>
                  <dgm:alg type="tx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self desOrSelf" ptType="node node" st="1 1" cnt="1 0"/>
                  <dgm:constrLst>
                    <dgm:constr type="tMarg" refType="primFontSz" fact="0.1"/>
                    <dgm:constr type="bMarg" refType="primFontSz" fact="0.1"/>
                    <dgm:constr type="lMarg" refType="primFontSz" fact="0.15"/>
                    <dgm:constr type="rMarg" refType="primFontSz" fact="0.15"/>
                  </dgm:constrLst>
                  <dgm:ruleLst>
                    <dgm:rule type="primFontSz" val="5" fact="NaN" max="NaN"/>
                  </dgm:ruleLst>
                </dgm:layoutNode>
              </dgm:forEach>
            </dgm:forEach>
          </dgm:layoutNode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hChevron3">
  <dgm:title val=""/>
  <dgm:desc val=""/>
  <dgm:catLst>
    <dgm:cat type="process" pri="10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func="maxDepth" op="gte" val="2">
        <dgm:constrLst>
          <dgm:constr type="w" for="ch" forName="parAndChTx" refType="w"/>
          <dgm:constr type="primFontSz" for="ch" ptType="node" op="equ"/>
          <dgm:constr type="w" for="ch" forName="parAndChSpace" refType="w" refFor="ch" refForName="parAndChTx" fact="-0.2"/>
          <dgm:constr type="w" for="ch" ptType="sibTrans" op="equ"/>
        </dgm:constrLst>
        <dgm:ruleLst/>
        <dgm:forEach name="Name6" axis="ch" ptType="node">
          <dgm:layoutNode name="parAndChTx">
            <dgm:varLst>
              <dgm:bulletEnabled val="1"/>
            </dgm:varLst>
            <dgm:alg type="tx"/>
            <dgm:choose name="Name7">
              <dgm:if name="Name8" func="var" arg="dir" op="equ" val="norm">
                <dgm:choose name="Name9">
                  <dgm:if name="Name10" axis="self" ptType="node" func="pos" op="equ" val="1">
                    <dgm:shape xmlns:r="http://schemas.openxmlformats.org/officeDocument/2006/relationships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4"/>
                    </dgm:constrLst>
                  </dgm:if>
                  <dgm:else name="Name11">
                    <dgm:shape xmlns:r="http://schemas.openxmlformats.org/officeDocument/2006/relationships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if>
              <dgm:else name="Name12">
                <dgm:choose name="Name13">
                  <dgm:if name="Name14" axis="self" ptType="node" func="pos" op="equ" val="1">
                    <dgm:shape xmlns:r="http://schemas.openxmlformats.org/officeDocument/2006/relationships" rot="180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4"/>
                      <dgm:constr type="rMarg" refType="w" fact="0.1"/>
                    </dgm:constrLst>
                  </dgm:if>
                  <dgm:else name="Name15">
                    <dgm:shape xmlns:r="http://schemas.openxmlformats.org/officeDocument/2006/relationships" rot="180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16" axis="followSib" ptType="sibTrans" cnt="1">
            <dgm:layoutNode name="parAndCh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17">
        <dgm:constrLst>
          <dgm:constr type="w" for="ch" forName="parTxOnly" refType="w"/>
          <dgm:constr type="primFontSz" for="ch" ptType="node" op="equ"/>
          <dgm:constr type="w" for="ch" forName="parSpace" refType="w" refFor="ch" refForName="parTxOnly" fact="-0.2"/>
          <dgm:constr type="w" for="ch" ptType="sibTrans" op="equ"/>
        </dgm:constrLst>
        <dgm:ruleLst/>
        <dgm:forEach name="Name18" axis="ch" ptType="node">
          <dgm:layoutNode name="parTxOnly">
            <dgm:varLst>
              <dgm:bulletEnabled val="1"/>
            </dgm:varLst>
            <dgm:alg type="tx"/>
            <dgm:presOf axis="desOrSelf" ptType="node"/>
            <dgm:choose name="Name19">
              <dgm:if name="Name20" func="var" arg="dir" op="equ" val="norm">
                <dgm:choose name="Name21">
                  <dgm:if name="Name22" axis="self" ptType="node" func="pos" op="equ" val="1">
                    <dgm:shape xmlns:r="http://schemas.openxmlformats.org/officeDocument/2006/relationships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42"/>
                      <dgm:constr type="rMarg" refType="primFontSz" fact="0.105"/>
                    </dgm:constrLst>
                  </dgm:if>
                  <dgm:else name="Name23">
                    <dgm:shape xmlns:r="http://schemas.openxmlformats.org/officeDocument/2006/relationships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315"/>
                      <dgm:constr type="rMarg" refType="primFontSz" fact="0.105"/>
                    </dgm:constrLst>
                  </dgm:else>
                </dgm:choose>
              </dgm:if>
              <dgm:else name="Name24">
                <dgm:choose name="Name25">
                  <dgm:if name="Name26" axis="self" ptType="node" func="pos" op="equ" val="1">
                    <dgm:shape xmlns:r="http://schemas.openxmlformats.org/officeDocument/2006/relationships" rot="180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42"/>
                    </dgm:constrLst>
                  </dgm:if>
                  <dgm:else name="Name27">
                    <dgm:shape xmlns:r="http://schemas.openxmlformats.org/officeDocument/2006/relationships" rot="180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315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17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88870" y="420638"/>
            <a:ext cx="5357567" cy="4240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07994" tIns="0" rIns="0" bIns="0" numCol="1" anchor="ctr" anchorCtr="0" compatLnSpc="1">
            <a:prstTxWarp prst="textNoShape">
              <a:avLst/>
            </a:prstTxWarp>
          </a:bodyPr>
          <a:lstStyle>
            <a:lvl1pPr>
              <a:lnSpc>
                <a:spcPts val="1300"/>
              </a:lnSpc>
              <a:defRPr sz="1000" b="1">
                <a:latin typeface="Stafford" pitchFamily="2" charset="0"/>
              </a:defRPr>
            </a:lvl1pPr>
          </a:lstStyle>
          <a:p>
            <a:endParaRPr lang="de-DE"/>
          </a:p>
        </p:txBody>
      </p:sp>
      <p:sp>
        <p:nvSpPr>
          <p:cNvPr id="50179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188870" y="9304028"/>
            <a:ext cx="1318931" cy="2827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sz="1000" b="1">
                <a:latin typeface="Stafford" pitchFamily="2" charset="0"/>
              </a:defRPr>
            </a:lvl1pPr>
          </a:lstStyle>
          <a:p>
            <a:fld id="{A32DC80D-291A-4ABB-A78B-0417274A267C}" type="datetime4">
              <a:rPr lang="de-DE"/>
              <a:pPr/>
              <a:t>7. Juli 2023</a:t>
            </a:fld>
            <a:endParaRPr lang="de-DE"/>
          </a:p>
        </p:txBody>
      </p:sp>
      <p:sp>
        <p:nvSpPr>
          <p:cNvPr id="50180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1507800" y="9304028"/>
            <a:ext cx="4425817" cy="2827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sz="1000" b="1">
                <a:latin typeface="Stafford" pitchFamily="2" charset="0"/>
              </a:defRPr>
            </a:lvl1pPr>
          </a:lstStyle>
          <a:p>
            <a:r>
              <a:rPr lang="de-DE"/>
              <a:t>|  </a:t>
            </a:r>
          </a:p>
        </p:txBody>
      </p:sp>
      <p:sp>
        <p:nvSpPr>
          <p:cNvPr id="50181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5947783" y="9304028"/>
            <a:ext cx="664187" cy="2827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>
              <a:defRPr sz="1000" b="1">
                <a:latin typeface="Stafford" pitchFamily="2" charset="0"/>
              </a:defRPr>
            </a:lvl1pPr>
          </a:lstStyle>
          <a:p>
            <a:r>
              <a:rPr lang="de-DE"/>
              <a:t>|  </a:t>
            </a:r>
            <a:fld id="{C7CC2173-B0D1-45F1-9D54-E33B7353DA19}" type="slidenum">
              <a:rPr lang="de-DE"/>
              <a:pPr/>
              <a:t>‹Nr.›</a:t>
            </a:fld>
            <a:endParaRPr lang="de-DE"/>
          </a:p>
        </p:txBody>
      </p:sp>
      <p:pic>
        <p:nvPicPr>
          <p:cNvPr id="50182" name="Picture 6" descr="tud_logo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5691235" y="391332"/>
            <a:ext cx="920734" cy="453392"/>
          </a:xfrm>
          <a:prstGeom prst="rect">
            <a:avLst/>
          </a:prstGeom>
          <a:noFill/>
        </p:spPr>
      </p:pic>
      <p:sp>
        <p:nvSpPr>
          <p:cNvPr id="50183" name="Rectangle 7"/>
          <p:cNvSpPr>
            <a:spLocks noChangeArrowheads="1"/>
          </p:cNvSpPr>
          <p:nvPr/>
        </p:nvSpPr>
        <p:spPr bwMode="auto">
          <a:xfrm>
            <a:off x="188869" y="194804"/>
            <a:ext cx="6423101" cy="156877"/>
          </a:xfrm>
          <a:prstGeom prst="rect">
            <a:avLst/>
          </a:prstGeom>
          <a:solidFill>
            <a:srgbClr val="B5B5B5"/>
          </a:solidFill>
          <a:ln w="9525">
            <a:noFill/>
            <a:miter lim="800000"/>
            <a:headEnd/>
            <a:tailEnd/>
          </a:ln>
          <a:effectLst/>
        </p:spPr>
        <p:txBody>
          <a:bodyPr wrap="none" lIns="91435" tIns="45717" rIns="91435" bIns="45717" anchor="ctr"/>
          <a:lstStyle/>
          <a:p>
            <a:endParaRPr lang="de-DE" dirty="0">
              <a:latin typeface="Tahoma" pitchFamily="34" charset="0"/>
            </a:endParaRPr>
          </a:p>
        </p:txBody>
      </p:sp>
      <p:sp>
        <p:nvSpPr>
          <p:cNvPr id="50184" name="Line 8"/>
          <p:cNvSpPr>
            <a:spLocks noChangeShapeType="1"/>
          </p:cNvSpPr>
          <p:nvPr/>
        </p:nvSpPr>
        <p:spPr bwMode="auto">
          <a:xfrm>
            <a:off x="188869" y="391332"/>
            <a:ext cx="6423101" cy="0"/>
          </a:xfrm>
          <a:prstGeom prst="line">
            <a:avLst/>
          </a:prstGeom>
          <a:noFill/>
          <a:ln w="15240">
            <a:solidFill>
              <a:schemeClr val="tx1"/>
            </a:solidFill>
            <a:round/>
            <a:headEnd/>
            <a:tailEnd/>
          </a:ln>
          <a:effectLst/>
        </p:spPr>
        <p:txBody>
          <a:bodyPr lIns="91435" tIns="45717" rIns="91435" bIns="45717"/>
          <a:lstStyle/>
          <a:p>
            <a:endParaRPr lang="de-DE" dirty="0">
              <a:latin typeface="Tahoma" pitchFamily="34" charset="0"/>
            </a:endParaRPr>
          </a:p>
        </p:txBody>
      </p:sp>
      <p:sp>
        <p:nvSpPr>
          <p:cNvPr id="50185" name="Line 9"/>
          <p:cNvSpPr>
            <a:spLocks noChangeShapeType="1"/>
          </p:cNvSpPr>
          <p:nvPr/>
        </p:nvSpPr>
        <p:spPr bwMode="auto">
          <a:xfrm>
            <a:off x="188869" y="9226451"/>
            <a:ext cx="6423101" cy="0"/>
          </a:xfrm>
          <a:prstGeom prst="line">
            <a:avLst/>
          </a:prstGeom>
          <a:noFill/>
          <a:ln w="7620">
            <a:solidFill>
              <a:schemeClr val="tx1"/>
            </a:solidFill>
            <a:round/>
            <a:headEnd/>
            <a:tailEnd/>
          </a:ln>
          <a:effectLst/>
        </p:spPr>
        <p:txBody>
          <a:bodyPr lIns="91435" tIns="45717" rIns="91435" bIns="45717"/>
          <a:lstStyle/>
          <a:p>
            <a:endParaRPr lang="de-DE" dirty="0">
              <a:latin typeface="Tahoma" pitchFamily="34" charset="0"/>
            </a:endParaRPr>
          </a:p>
        </p:txBody>
      </p:sp>
      <p:sp>
        <p:nvSpPr>
          <p:cNvPr id="50186" name="Line 10"/>
          <p:cNvSpPr>
            <a:spLocks noChangeShapeType="1"/>
          </p:cNvSpPr>
          <p:nvPr/>
        </p:nvSpPr>
        <p:spPr bwMode="auto">
          <a:xfrm>
            <a:off x="187295" y="844724"/>
            <a:ext cx="6423100" cy="0"/>
          </a:xfrm>
          <a:prstGeom prst="line">
            <a:avLst/>
          </a:prstGeom>
          <a:noFill/>
          <a:ln w="7620">
            <a:solidFill>
              <a:schemeClr val="tx1"/>
            </a:solidFill>
            <a:round/>
            <a:headEnd/>
            <a:tailEnd/>
          </a:ln>
          <a:effectLst/>
        </p:spPr>
        <p:txBody>
          <a:bodyPr lIns="91435" tIns="45717" rIns="91435" bIns="45717"/>
          <a:lstStyle/>
          <a:p>
            <a:endParaRPr lang="de-DE" dirty="0">
              <a:latin typeface="Tahom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4500704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85" name="Picture 13" descr="tud_logo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5683367" y="391332"/>
            <a:ext cx="927029" cy="456840"/>
          </a:xfrm>
          <a:prstGeom prst="rect">
            <a:avLst/>
          </a:prstGeom>
          <a:noFill/>
        </p:spPr>
      </p:pic>
      <p:sp>
        <p:nvSpPr>
          <p:cNvPr id="3075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187295" y="9431600"/>
            <a:ext cx="1605382" cy="4964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35" tIns="45717" rIns="91435" bIns="45717" numCol="1" anchor="ctr" anchorCtr="0" compatLnSpc="1">
            <a:prstTxWarp prst="textNoShape">
              <a:avLst/>
            </a:prstTxWarp>
          </a:bodyPr>
          <a:lstStyle>
            <a:lvl1pPr>
              <a:lnSpc>
                <a:spcPts val="1300"/>
              </a:lnSpc>
              <a:defRPr sz="1000">
                <a:latin typeface="Stafford" pitchFamily="2" charset="0"/>
              </a:defRPr>
            </a:lvl1pPr>
          </a:lstStyle>
          <a:p>
            <a:fld id="{065B079B-E513-489A-8A1B-D7C78493EA86}" type="datetime4">
              <a:rPr lang="de-DE"/>
              <a:pPr/>
              <a:t>7. Juli 2023</a:t>
            </a:fld>
            <a:endParaRPr lang="de-DE"/>
          </a:p>
        </p:txBody>
      </p:sp>
      <p:sp>
        <p:nvSpPr>
          <p:cNvPr id="3076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425450" y="1003300"/>
            <a:ext cx="5929313" cy="3335338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</p:spPr>
      </p:sp>
      <p:sp>
        <p:nvSpPr>
          <p:cNvPr id="3077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188869" y="4652877"/>
            <a:ext cx="6421526" cy="46511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35" tIns="45717" rIns="91435" bIns="45717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3078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1792677" y="9431600"/>
            <a:ext cx="4070114" cy="4964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35" tIns="45717" rIns="91435" bIns="45717" numCol="1" anchor="ctr" anchorCtr="0" compatLnSpc="1">
            <a:prstTxWarp prst="textNoShape">
              <a:avLst/>
            </a:prstTxWarp>
          </a:bodyPr>
          <a:lstStyle>
            <a:lvl1pPr>
              <a:lnSpc>
                <a:spcPts val="1300"/>
              </a:lnSpc>
              <a:defRPr sz="1000">
                <a:latin typeface="Stafford" pitchFamily="2" charset="0"/>
              </a:defRPr>
            </a:lvl1pPr>
          </a:lstStyle>
          <a:p>
            <a:r>
              <a:rPr lang="de-DE"/>
              <a:t>|  </a:t>
            </a:r>
          </a:p>
        </p:txBody>
      </p:sp>
      <p:sp>
        <p:nvSpPr>
          <p:cNvPr id="3079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5862791" y="9431600"/>
            <a:ext cx="934899" cy="4964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35" tIns="45717" rIns="91435" bIns="45717" numCol="1" anchor="ctr" anchorCtr="0" compatLnSpc="1">
            <a:prstTxWarp prst="textNoShape">
              <a:avLst/>
            </a:prstTxWarp>
          </a:bodyPr>
          <a:lstStyle>
            <a:lvl1pPr algn="r">
              <a:lnSpc>
                <a:spcPts val="1300"/>
              </a:lnSpc>
              <a:defRPr sz="1000">
                <a:latin typeface="Stafford" pitchFamily="2" charset="0"/>
              </a:defRPr>
            </a:lvl1pPr>
          </a:lstStyle>
          <a:p>
            <a:r>
              <a:rPr lang="de-DE"/>
              <a:t>|  </a:t>
            </a:r>
            <a:fld id="{C36AA9A4-5D0B-4134-89A6-D8B9DAA4F25C}" type="slidenum">
              <a:rPr lang="de-DE"/>
              <a:pPr/>
              <a:t>‹Nr.›</a:t>
            </a:fld>
            <a:endParaRPr lang="de-DE"/>
          </a:p>
        </p:txBody>
      </p:sp>
      <p:sp>
        <p:nvSpPr>
          <p:cNvPr id="3080" name="Rectangle 8"/>
          <p:cNvSpPr>
            <a:spLocks noChangeArrowheads="1"/>
          </p:cNvSpPr>
          <p:nvPr/>
        </p:nvSpPr>
        <p:spPr bwMode="auto">
          <a:xfrm>
            <a:off x="188870" y="420639"/>
            <a:ext cx="5357567" cy="42753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107994" tIns="0" rIns="0" bIns="0" anchor="ctr"/>
          <a:lstStyle/>
          <a:p>
            <a:pPr>
              <a:lnSpc>
                <a:spcPts val="1300"/>
              </a:lnSpc>
            </a:pPr>
            <a:endParaRPr lang="de-DE" sz="1000" b="1">
              <a:latin typeface="Stafford" pitchFamily="2" charset="0"/>
            </a:endParaRPr>
          </a:p>
        </p:txBody>
      </p:sp>
      <p:sp>
        <p:nvSpPr>
          <p:cNvPr id="3081" name="Rectangle 9"/>
          <p:cNvSpPr>
            <a:spLocks noChangeArrowheads="1"/>
          </p:cNvSpPr>
          <p:nvPr/>
        </p:nvSpPr>
        <p:spPr bwMode="auto">
          <a:xfrm>
            <a:off x="188869" y="194804"/>
            <a:ext cx="6423101" cy="156877"/>
          </a:xfrm>
          <a:prstGeom prst="rect">
            <a:avLst/>
          </a:prstGeom>
          <a:solidFill>
            <a:srgbClr val="B5B5B5"/>
          </a:solidFill>
          <a:ln w="9525">
            <a:noFill/>
            <a:miter lim="800000"/>
            <a:headEnd/>
            <a:tailEnd/>
          </a:ln>
          <a:effectLst/>
        </p:spPr>
        <p:txBody>
          <a:bodyPr wrap="none" lIns="91435" tIns="45717" rIns="91435" bIns="45717" anchor="ctr"/>
          <a:lstStyle/>
          <a:p>
            <a:endParaRPr lang="de-DE" dirty="0">
              <a:latin typeface="Tahoma" pitchFamily="34" charset="0"/>
            </a:endParaRPr>
          </a:p>
        </p:txBody>
      </p:sp>
      <p:sp>
        <p:nvSpPr>
          <p:cNvPr id="3082" name="Line 10"/>
          <p:cNvSpPr>
            <a:spLocks noChangeShapeType="1"/>
          </p:cNvSpPr>
          <p:nvPr/>
        </p:nvSpPr>
        <p:spPr bwMode="auto">
          <a:xfrm>
            <a:off x="188869" y="391332"/>
            <a:ext cx="6423101" cy="0"/>
          </a:xfrm>
          <a:prstGeom prst="line">
            <a:avLst/>
          </a:prstGeom>
          <a:noFill/>
          <a:ln w="15240">
            <a:solidFill>
              <a:schemeClr val="tx1"/>
            </a:solidFill>
            <a:round/>
            <a:headEnd/>
            <a:tailEnd/>
          </a:ln>
          <a:effectLst/>
        </p:spPr>
        <p:txBody>
          <a:bodyPr lIns="91435" tIns="45717" rIns="91435" bIns="45717"/>
          <a:lstStyle/>
          <a:p>
            <a:endParaRPr lang="de-DE" dirty="0">
              <a:latin typeface="Tahoma" pitchFamily="34" charset="0"/>
            </a:endParaRPr>
          </a:p>
        </p:txBody>
      </p:sp>
      <p:sp>
        <p:nvSpPr>
          <p:cNvPr id="3083" name="Line 11"/>
          <p:cNvSpPr>
            <a:spLocks noChangeShapeType="1"/>
          </p:cNvSpPr>
          <p:nvPr/>
        </p:nvSpPr>
        <p:spPr bwMode="auto">
          <a:xfrm>
            <a:off x="188869" y="848172"/>
            <a:ext cx="6423101" cy="0"/>
          </a:xfrm>
          <a:prstGeom prst="line">
            <a:avLst/>
          </a:prstGeom>
          <a:noFill/>
          <a:ln w="7620">
            <a:solidFill>
              <a:schemeClr val="tx1"/>
            </a:solidFill>
            <a:round/>
            <a:headEnd/>
            <a:tailEnd/>
          </a:ln>
          <a:effectLst/>
        </p:spPr>
        <p:txBody>
          <a:bodyPr lIns="91435" tIns="45717" rIns="91435" bIns="45717"/>
          <a:lstStyle/>
          <a:p>
            <a:endParaRPr lang="de-DE" dirty="0">
              <a:latin typeface="Tahoma" pitchFamily="34" charset="0"/>
            </a:endParaRPr>
          </a:p>
        </p:txBody>
      </p:sp>
      <p:sp>
        <p:nvSpPr>
          <p:cNvPr id="3084" name="Line 12"/>
          <p:cNvSpPr>
            <a:spLocks noChangeShapeType="1"/>
          </p:cNvSpPr>
          <p:nvPr/>
        </p:nvSpPr>
        <p:spPr bwMode="auto">
          <a:xfrm>
            <a:off x="188869" y="9431599"/>
            <a:ext cx="6423101" cy="0"/>
          </a:xfrm>
          <a:prstGeom prst="line">
            <a:avLst/>
          </a:prstGeom>
          <a:noFill/>
          <a:ln w="7620">
            <a:solidFill>
              <a:schemeClr val="tx1"/>
            </a:solidFill>
            <a:round/>
            <a:headEnd/>
            <a:tailEnd/>
          </a:ln>
          <a:effectLst/>
        </p:spPr>
        <p:txBody>
          <a:bodyPr lIns="91435" tIns="45717" rIns="91435" bIns="45717"/>
          <a:lstStyle/>
          <a:p>
            <a:endParaRPr lang="de-DE" dirty="0">
              <a:latin typeface="Tahoma" pitchFamily="34" charset="0"/>
            </a:endParaRPr>
          </a:p>
        </p:txBody>
      </p:sp>
      <p:sp>
        <p:nvSpPr>
          <p:cNvPr id="3086" name="Line 14"/>
          <p:cNvSpPr>
            <a:spLocks noChangeShapeType="1"/>
          </p:cNvSpPr>
          <p:nvPr/>
        </p:nvSpPr>
        <p:spPr bwMode="auto">
          <a:xfrm>
            <a:off x="187295" y="4456349"/>
            <a:ext cx="6423100" cy="0"/>
          </a:xfrm>
          <a:prstGeom prst="line">
            <a:avLst/>
          </a:prstGeom>
          <a:noFill/>
          <a:ln w="7620">
            <a:solidFill>
              <a:schemeClr val="tx1"/>
            </a:solidFill>
            <a:round/>
            <a:headEnd/>
            <a:tailEnd/>
          </a:ln>
          <a:effectLst/>
        </p:spPr>
        <p:txBody>
          <a:bodyPr lIns="91435" tIns="45717" rIns="91435" bIns="45717"/>
          <a:lstStyle/>
          <a:p>
            <a:endParaRPr lang="de-DE" dirty="0">
              <a:latin typeface="Tahom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16787406"/>
      </p:ext>
    </p:extLst>
  </p:cSld>
  <p:clrMap bg1="lt1" tx1="dk1" bg2="lt2" tx2="dk2" accent1="accent1" accent2="accent2" accent3="accent3" accent4="accent4" accent5="accent5" accent6="accent6" hlink="hlink" folHlink="folHlink"/>
  <p:hf hdr="0"/>
  <p:notesStyle>
    <a:lvl1pPr algn="l" rtl="0" fontAlgn="base">
      <a:spcBef>
        <a:spcPct val="10000"/>
      </a:spcBef>
      <a:spcAft>
        <a:spcPct val="0"/>
      </a:spcAft>
      <a:defRPr sz="1200" kern="1200">
        <a:solidFill>
          <a:schemeClr val="tx1"/>
        </a:solidFill>
        <a:latin typeface="Bitstream Charter" pitchFamily="2" charset="0"/>
        <a:ea typeface="+mn-ea"/>
        <a:cs typeface="+mn-cs"/>
      </a:defRPr>
    </a:lvl1pPr>
    <a:lvl2pPr marL="457200" algn="l" rtl="0" fontAlgn="base">
      <a:spcBef>
        <a:spcPct val="10000"/>
      </a:spcBef>
      <a:spcAft>
        <a:spcPct val="0"/>
      </a:spcAft>
      <a:defRPr sz="1200" kern="1200">
        <a:solidFill>
          <a:schemeClr val="tx1"/>
        </a:solidFill>
        <a:latin typeface="Bitstream Charter" pitchFamily="2" charset="0"/>
        <a:ea typeface="+mn-ea"/>
        <a:cs typeface="+mn-cs"/>
      </a:defRPr>
    </a:lvl2pPr>
    <a:lvl3pPr marL="914400" algn="l" rtl="0" fontAlgn="base">
      <a:spcBef>
        <a:spcPct val="10000"/>
      </a:spcBef>
      <a:spcAft>
        <a:spcPct val="0"/>
      </a:spcAft>
      <a:defRPr sz="1200" kern="1200">
        <a:solidFill>
          <a:schemeClr val="tx1"/>
        </a:solidFill>
        <a:latin typeface="Bitstream Charter" pitchFamily="2" charset="0"/>
        <a:ea typeface="+mn-ea"/>
        <a:cs typeface="+mn-cs"/>
      </a:defRPr>
    </a:lvl3pPr>
    <a:lvl4pPr marL="1371600" algn="l" rtl="0" fontAlgn="base">
      <a:spcBef>
        <a:spcPct val="10000"/>
      </a:spcBef>
      <a:spcAft>
        <a:spcPct val="0"/>
      </a:spcAft>
      <a:defRPr sz="1200" kern="1200">
        <a:solidFill>
          <a:schemeClr val="tx1"/>
        </a:solidFill>
        <a:latin typeface="Bitstream Charter" pitchFamily="2" charset="0"/>
        <a:ea typeface="+mn-ea"/>
        <a:cs typeface="+mn-cs"/>
      </a:defRPr>
    </a:lvl4pPr>
    <a:lvl5pPr marL="1828800" algn="l" rtl="0" fontAlgn="base">
      <a:spcBef>
        <a:spcPct val="10000"/>
      </a:spcBef>
      <a:spcAft>
        <a:spcPct val="0"/>
      </a:spcAft>
      <a:defRPr sz="1200" kern="1200">
        <a:solidFill>
          <a:schemeClr val="tx1"/>
        </a:solidFill>
        <a:latin typeface="Bitstream Charter" pitchFamily="2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8" name="Rectangle 3"/>
          <p:cNvSpPr>
            <a:spLocks noGrp="1" noChangeArrowheads="1"/>
          </p:cNvSpPr>
          <p:nvPr>
            <p:ph type="dt" sz="quarter" idx="1"/>
          </p:nvPr>
        </p:nvSpPr>
        <p:spPr>
          <a:noFill/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05" indent="-285733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2931" indent="-228586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104" indent="-228586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277" indent="-228586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449" indent="-228586" algn="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622" indent="-228586" algn="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8795" indent="-228586" algn="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5967" indent="-228586" algn="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en-US" dirty="0">
                <a:latin typeface="Stafford" pitchFamily="2" charset="0"/>
              </a:rPr>
              <a:t>6. </a:t>
            </a:r>
            <a:r>
              <a:rPr lang="en-US" dirty="0" err="1">
                <a:latin typeface="Stafford" pitchFamily="2" charset="0"/>
              </a:rPr>
              <a:t>Juli</a:t>
            </a:r>
            <a:r>
              <a:rPr lang="en-US" dirty="0">
                <a:latin typeface="Stafford" pitchFamily="2" charset="0"/>
              </a:rPr>
              <a:t> 2012</a:t>
            </a:r>
          </a:p>
        </p:txBody>
      </p:sp>
      <p:sp>
        <p:nvSpPr>
          <p:cNvPr id="29699" name="Rectangle 6"/>
          <p:cNvSpPr>
            <a:spLocks noGrp="1" noChangeArrowheads="1"/>
          </p:cNvSpPr>
          <p:nvPr>
            <p:ph type="ftr" sz="quarter" idx="4"/>
          </p:nvPr>
        </p:nvSpPr>
        <p:spPr>
          <a:noFill/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05" indent="-285733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2931" indent="-228586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104" indent="-228586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277" indent="-228586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449" indent="-228586" algn="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622" indent="-228586" algn="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8795" indent="-228586" algn="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5967" indent="-228586" algn="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en-US" dirty="0">
                <a:latin typeface="Stafford" pitchFamily="2" charset="0"/>
              </a:rPr>
              <a:t>|  </a:t>
            </a:r>
            <a:r>
              <a:rPr lang="en-US" dirty="0" err="1">
                <a:latin typeface="Stafford" pitchFamily="2" charset="0"/>
              </a:rPr>
              <a:t>Fachbereich</a:t>
            </a:r>
            <a:r>
              <a:rPr lang="en-US" dirty="0">
                <a:latin typeface="Stafford" pitchFamily="2" charset="0"/>
              </a:rPr>
              <a:t>  -  </a:t>
            </a:r>
            <a:r>
              <a:rPr lang="en-US" dirty="0" err="1">
                <a:latin typeface="Stafford" pitchFamily="2" charset="0"/>
              </a:rPr>
              <a:t>Dekanat</a:t>
            </a:r>
            <a:r>
              <a:rPr lang="en-US" dirty="0">
                <a:latin typeface="Stafford" pitchFamily="2" charset="0"/>
              </a:rPr>
              <a:t> | </a:t>
            </a:r>
            <a:r>
              <a:rPr lang="en-US" dirty="0" err="1">
                <a:latin typeface="Stafford" pitchFamily="2" charset="0"/>
              </a:rPr>
              <a:t>Absolventenfeier</a:t>
            </a:r>
            <a:r>
              <a:rPr lang="en-US" dirty="0">
                <a:latin typeface="Stafford" pitchFamily="2" charset="0"/>
              </a:rPr>
              <a:t> SS 2012</a:t>
            </a:r>
          </a:p>
        </p:txBody>
      </p:sp>
      <p:sp>
        <p:nvSpPr>
          <p:cNvPr id="29700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05" indent="-285733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2931" indent="-228586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104" indent="-228586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277" indent="-228586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449" indent="-228586" algn="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622" indent="-228586" algn="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8795" indent="-228586" algn="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5967" indent="-228586" algn="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en-US" dirty="0">
                <a:latin typeface="Stafford" pitchFamily="2" charset="0"/>
              </a:rPr>
              <a:t>|  </a:t>
            </a:r>
            <a:fld id="{CB5420F2-BEFB-4935-ABB8-F884B5F216C1}" type="slidenum">
              <a:rPr lang="en-US" smtClean="0">
                <a:latin typeface="Stafford" pitchFamily="2" charset="0"/>
              </a:rPr>
              <a:pPr eaLnBrk="1" hangingPunct="1"/>
              <a:t>1</a:t>
            </a:fld>
            <a:endParaRPr lang="en-US" dirty="0">
              <a:latin typeface="Stafford" pitchFamily="2" charset="0"/>
            </a:endParaRPr>
          </a:p>
        </p:txBody>
      </p:sp>
      <p:sp>
        <p:nvSpPr>
          <p:cNvPr id="2970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427038" y="1003300"/>
            <a:ext cx="5927725" cy="3335338"/>
          </a:xfrm>
          <a:ln/>
        </p:spPr>
      </p:sp>
      <p:sp>
        <p:nvSpPr>
          <p:cNvPr id="29702" name="Rectangle 3"/>
          <p:cNvSpPr>
            <a:spLocks noGrp="1" noChangeArrowheads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pPr eaLnBrk="1" hangingPunct="1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63256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042" name="Rectangle 2"/>
          <p:cNvSpPr>
            <a:spLocks noChangeArrowheads="1"/>
          </p:cNvSpPr>
          <p:nvPr/>
        </p:nvSpPr>
        <p:spPr bwMode="auto">
          <a:xfrm>
            <a:off x="334436" y="368300"/>
            <a:ext cx="11523133" cy="2089150"/>
          </a:xfrm>
          <a:prstGeom prst="rect">
            <a:avLst/>
          </a:prstGeom>
          <a:solidFill>
            <a:srgbClr val="008877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/>
            <a:endParaRPr lang="de-DE" dirty="0">
              <a:latin typeface="Tahoma" pitchFamily="34" charset="0"/>
            </a:endParaRPr>
          </a:p>
        </p:txBody>
      </p:sp>
      <p:sp>
        <p:nvSpPr>
          <p:cNvPr id="87044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478367" y="1449388"/>
            <a:ext cx="8856156" cy="944562"/>
          </a:xfrm>
        </p:spPr>
        <p:txBody>
          <a:bodyPr lIns="0" tIns="0" rIns="0" bIns="0"/>
          <a:lstStyle>
            <a:lvl1pPr marL="0" indent="0">
              <a:spcBef>
                <a:spcPct val="0"/>
              </a:spcBef>
              <a:buFont typeface="Wingdings" pitchFamily="2" charset="2"/>
              <a:buNone/>
              <a:defRPr b="1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Formatvorlage des Untertitelmasters durch Klicken bearbeiten</a:t>
            </a:r>
          </a:p>
        </p:txBody>
      </p:sp>
      <p:sp>
        <p:nvSpPr>
          <p:cNvPr id="87048" name="Rectangle 8"/>
          <p:cNvSpPr>
            <a:spLocks noChangeArrowheads="1"/>
          </p:cNvSpPr>
          <p:nvPr/>
        </p:nvSpPr>
        <p:spPr bwMode="auto">
          <a:xfrm>
            <a:off x="334436" y="196855"/>
            <a:ext cx="11523133" cy="144463"/>
          </a:xfrm>
          <a:prstGeom prst="rect">
            <a:avLst/>
          </a:prstGeom>
          <a:solidFill>
            <a:srgbClr val="008877"/>
          </a:solidFill>
          <a:ln w="3175">
            <a:noFill/>
            <a:miter lim="800000"/>
            <a:headEnd/>
            <a:tailEnd/>
          </a:ln>
        </p:spPr>
        <p:txBody>
          <a:bodyPr/>
          <a:lstStyle/>
          <a:p>
            <a:endParaRPr lang="de-DE" dirty="0">
              <a:latin typeface="Tahoma" pitchFamily="34" charset="0"/>
            </a:endParaRPr>
          </a:p>
        </p:txBody>
      </p:sp>
      <p:pic>
        <p:nvPicPr>
          <p:cNvPr id="87049" name="Picture 9" descr="tud_logo"/>
          <p:cNvPicPr>
            <a:picLocks noChangeArrowheads="1"/>
          </p:cNvPicPr>
          <p:nvPr/>
        </p:nvPicPr>
        <p:blipFill>
          <a:blip r:embed="rId2" cstate="print"/>
          <a:srcRect r="5453"/>
          <a:stretch>
            <a:fillRect/>
          </a:stretch>
        </p:blipFill>
        <p:spPr bwMode="auto">
          <a:xfrm>
            <a:off x="10031683" y="628162"/>
            <a:ext cx="1837944" cy="7772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7055" name="Line 15"/>
          <p:cNvSpPr>
            <a:spLocks noChangeShapeType="1"/>
          </p:cNvSpPr>
          <p:nvPr/>
        </p:nvSpPr>
        <p:spPr bwMode="auto">
          <a:xfrm>
            <a:off x="336551" y="6357958"/>
            <a:ext cx="11521016" cy="0"/>
          </a:xfrm>
          <a:prstGeom prst="line">
            <a:avLst/>
          </a:prstGeom>
          <a:noFill/>
          <a:ln w="7620">
            <a:solidFill>
              <a:srgbClr val="000000"/>
            </a:solidFill>
            <a:round/>
            <a:headEnd/>
            <a:tailEnd/>
          </a:ln>
        </p:spPr>
        <p:txBody>
          <a:bodyPr/>
          <a:lstStyle/>
          <a:p>
            <a:endParaRPr lang="de-DE" dirty="0">
              <a:latin typeface="Tahoma" pitchFamily="34" charset="0"/>
            </a:endParaRPr>
          </a:p>
        </p:txBody>
      </p:sp>
      <p:sp>
        <p:nvSpPr>
          <p:cNvPr id="87058" name="Rectangle 18"/>
          <p:cNvSpPr>
            <a:spLocks noChangeArrowheads="1"/>
          </p:cNvSpPr>
          <p:nvPr/>
        </p:nvSpPr>
        <p:spPr bwMode="auto">
          <a:xfrm>
            <a:off x="334437" y="360368"/>
            <a:ext cx="11521017" cy="14287"/>
          </a:xfrm>
          <a:prstGeom prst="rect">
            <a:avLst/>
          </a:prstGeom>
          <a:solidFill>
            <a:srgbClr val="000000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de-DE" dirty="0">
              <a:latin typeface="Tahoma" pitchFamily="34" charset="0"/>
            </a:endParaRPr>
          </a:p>
        </p:txBody>
      </p:sp>
      <p:sp>
        <p:nvSpPr>
          <p:cNvPr id="87059" name="Rectangle 19"/>
          <p:cNvSpPr>
            <a:spLocks noChangeArrowheads="1"/>
          </p:cNvSpPr>
          <p:nvPr/>
        </p:nvSpPr>
        <p:spPr bwMode="auto">
          <a:xfrm>
            <a:off x="334437" y="2457450"/>
            <a:ext cx="11521017" cy="7938"/>
          </a:xfrm>
          <a:prstGeom prst="rect">
            <a:avLst/>
          </a:prstGeom>
          <a:solidFill>
            <a:srgbClr val="000000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de-DE" dirty="0">
              <a:latin typeface="Tahoma" pitchFamily="34" charset="0"/>
            </a:endParaRPr>
          </a:p>
        </p:txBody>
      </p:sp>
      <p:sp>
        <p:nvSpPr>
          <p:cNvPr id="12" name="Titel 1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Titelmasterformat durch Klicken bearbeiten</a:t>
            </a:r>
          </a:p>
        </p:txBody>
      </p:sp>
      <p:sp>
        <p:nvSpPr>
          <p:cNvPr id="15" name="Fußzeilenplatzhalter 3"/>
          <p:cNvSpPr txBox="1">
            <a:spLocks/>
          </p:cNvSpPr>
          <p:nvPr userDrawn="1"/>
        </p:nvSpPr>
        <p:spPr>
          <a:xfrm>
            <a:off x="336551" y="6489705"/>
            <a:ext cx="9601200" cy="23177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ahoma" pitchFamily="34" charset="0"/>
                <a:ea typeface="+mn-ea"/>
                <a:cs typeface="Tahoma" pitchFamily="34" charset="0"/>
              </a:rPr>
              <a:t>TU Darmstadt | Energy Information Networks &amp; Systems | Prof. Dr. Florian Steinke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10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Tahoma" pitchFamily="34" charset="0"/>
              <a:ea typeface="+mn-ea"/>
              <a:cs typeface="Tahoma" pitchFamily="34" charset="0"/>
            </a:endParaRPr>
          </a:p>
        </p:txBody>
      </p:sp>
      <p:sp>
        <p:nvSpPr>
          <p:cNvPr id="17" name="Rechteck 16"/>
          <p:cNvSpPr/>
          <p:nvPr userDrawn="1"/>
        </p:nvSpPr>
        <p:spPr bwMode="auto">
          <a:xfrm>
            <a:off x="10019623" y="1596514"/>
            <a:ext cx="1837944" cy="777240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29511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3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Charter" pitchFamily="2" charset="0"/>
              <a:cs typeface="Arial" charset="0"/>
            </a:endParaRPr>
          </a:p>
        </p:txBody>
      </p:sp>
      <p:pic>
        <p:nvPicPr>
          <p:cNvPr id="18" name="Picture 182"/>
          <p:cNvPicPr>
            <a:picLocks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0150555" y="1729697"/>
            <a:ext cx="1600200" cy="52120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335360" y="1620000"/>
            <a:ext cx="11521280" cy="4689320"/>
          </a:xfrm>
        </p:spPr>
        <p:txBody>
          <a:bodyPr/>
          <a:lstStyle>
            <a:lvl1pPr marL="180000" indent="0">
              <a:defRPr b="1"/>
            </a:lvl1pPr>
            <a:lvl2pPr marL="444500" indent="-261938">
              <a:buSzPct val="125000"/>
              <a:buFont typeface="Arial" pitchFamily="34" charset="0"/>
              <a:buChar char="•"/>
              <a:defRPr/>
            </a:lvl2pPr>
            <a:lvl3pPr marL="576000" indent="-216000">
              <a:buFont typeface="Arial" pitchFamily="34" charset="0"/>
              <a:buChar char="•"/>
              <a:defRPr/>
            </a:lvl3pPr>
            <a:lvl4pPr marL="756000" indent="-173038">
              <a:buFont typeface="Arial" pitchFamily="34" charset="0"/>
              <a:buChar char="•"/>
              <a:defRPr/>
            </a:lvl4pPr>
            <a:lvl5pPr marL="972000" indent="-188913">
              <a:buFont typeface="Arial" pitchFamily="34" charset="0"/>
              <a:buChar char="•"/>
              <a:defRPr/>
            </a:lvl5pPr>
          </a:lstStyle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963087" y="4406905"/>
            <a:ext cx="8561940" cy="1362075"/>
          </a:xfrm>
        </p:spPr>
        <p:txBody>
          <a:bodyPr anchor="t"/>
          <a:lstStyle>
            <a:lvl1pPr algn="l">
              <a:defRPr sz="3200" b="1" cap="all"/>
            </a:lvl1pPr>
          </a:lstStyle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963087" y="2906713"/>
            <a:ext cx="856194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de-DE"/>
              <a:t>Textmasterformate durch Klicken bearbeiten</a:t>
            </a:r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78368" y="1592268"/>
            <a:ext cx="5513917" cy="4551381"/>
          </a:xfrm>
        </p:spPr>
        <p:txBody>
          <a:bodyPr/>
          <a:lstStyle>
            <a:lvl1pPr marL="0" indent="0"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381753" y="1592268"/>
            <a:ext cx="5473699" cy="4551381"/>
          </a:xfrm>
        </p:spPr>
        <p:txBody>
          <a:bodyPr/>
          <a:lstStyle>
            <a:lvl1pPr marL="0" indent="0"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Titelmasterformat durch Klicken bearbeiten</a:t>
            </a:r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/>
          <p:cNvSpPr/>
          <p:nvPr userDrawn="1"/>
        </p:nvSpPr>
        <p:spPr>
          <a:xfrm>
            <a:off x="-48683" y="554"/>
            <a:ext cx="12240683" cy="6858000"/>
          </a:xfrm>
          <a:prstGeom prst="rect">
            <a:avLst/>
          </a:prstGeom>
          <a:ln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43238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5143493" y="1620000"/>
            <a:ext cx="6667547" cy="4689320"/>
          </a:xfrm>
        </p:spPr>
        <p:txBody>
          <a:bodyPr/>
          <a:lstStyle>
            <a:lvl1pPr>
              <a:defRPr sz="2000"/>
            </a:lvl1pPr>
            <a:lvl2pPr>
              <a:defRPr sz="20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478368" y="1620000"/>
            <a:ext cx="4142317" cy="4689320"/>
          </a:xfrm>
        </p:spPr>
        <p:txBody>
          <a:bodyPr/>
          <a:lstStyle>
            <a:lvl1pPr marL="0" indent="0">
              <a:buNone/>
              <a:defRPr sz="20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 dirty="0"/>
              <a:t>Textmasterformate durch Klicken bearbeiten</a:t>
            </a:r>
          </a:p>
        </p:txBody>
      </p:sp>
      <p:sp>
        <p:nvSpPr>
          <p:cNvPr id="5" name="Titel 1"/>
          <p:cNvSpPr>
            <a:spLocks noGrp="1"/>
          </p:cNvSpPr>
          <p:nvPr>
            <p:ph type="title"/>
          </p:nvPr>
        </p:nvSpPr>
        <p:spPr>
          <a:xfrm>
            <a:off x="478367" y="488950"/>
            <a:ext cx="9120000" cy="838200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ree Content" userDrawn="1">
  <p:cSld name="F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Click to add core message of slid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1" hasCustomPrompt="1"/>
          </p:nvPr>
        </p:nvSpPr>
        <p:spPr>
          <a:xfrm>
            <a:off x="721787" y="1412875"/>
            <a:ext cx="10943167" cy="445058"/>
          </a:xfrm>
        </p:spPr>
        <p:txBody>
          <a:bodyPr>
            <a:spAutoFit/>
          </a:bodyPr>
          <a:lstStyle>
            <a:lvl1pPr>
              <a:defRPr/>
            </a:lvl1pPr>
          </a:lstStyle>
          <a:p>
            <a:pPr lvl="0"/>
            <a:r>
              <a:rPr lang="en-US" noProof="0" dirty="0"/>
              <a:t>Title (description of slide content), Arial 14 </a:t>
            </a:r>
            <a:r>
              <a:rPr lang="en-US" noProof="0" dirty="0" err="1"/>
              <a:t>pt</a:t>
            </a:r>
            <a:r>
              <a:rPr lang="en-US" noProof="0" dirty="0"/>
              <a:t>, maximum of 1 line</a:t>
            </a:r>
          </a:p>
        </p:txBody>
      </p:sp>
    </p:spTree>
    <p:extLst>
      <p:ext uri="{BB962C8B-B14F-4D97-AF65-F5344CB8AC3E}">
        <p14:creationId xmlns:p14="http://schemas.microsoft.com/office/powerpoint/2010/main" val="520606492"/>
      </p:ext>
    </p:extLst>
  </p:cSld>
  <p:clrMapOvr>
    <a:masterClrMapping/>
  </p:clrMapOvr>
  <p:transition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png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7" name="Rectangle 13"/>
          <p:cNvSpPr>
            <a:spLocks noChangeArrowheads="1"/>
          </p:cNvSpPr>
          <p:nvPr/>
        </p:nvSpPr>
        <p:spPr bwMode="auto">
          <a:xfrm>
            <a:off x="334436" y="368300"/>
            <a:ext cx="11523133" cy="1081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de-DE" dirty="0">
              <a:latin typeface="Tahoma" pitchFamily="34" charset="0"/>
              <a:cs typeface="Tahoma" pitchFamily="34" charset="0"/>
            </a:endParaRPr>
          </a:p>
        </p:txBody>
      </p:sp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78367" y="488950"/>
            <a:ext cx="8856156" cy="838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/>
              <a:t>Titelmasterformat durch Klicken bearbeiten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80001" y="1620000"/>
            <a:ext cx="11375451" cy="4572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45720" rIns="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032" name="Rectangle 8"/>
          <p:cNvSpPr>
            <a:spLocks noChangeArrowheads="1"/>
          </p:cNvSpPr>
          <p:nvPr/>
        </p:nvSpPr>
        <p:spPr bwMode="auto">
          <a:xfrm>
            <a:off x="334436" y="196855"/>
            <a:ext cx="11523133" cy="144463"/>
          </a:xfrm>
          <a:prstGeom prst="rect">
            <a:avLst/>
          </a:prstGeom>
          <a:solidFill>
            <a:srgbClr val="008877"/>
          </a:solidFill>
          <a:ln w="3175">
            <a:noFill/>
            <a:miter lim="800000"/>
            <a:headEnd/>
            <a:tailEnd/>
          </a:ln>
        </p:spPr>
        <p:txBody>
          <a:bodyPr/>
          <a:lstStyle/>
          <a:p>
            <a:endParaRPr lang="de-DE" dirty="0">
              <a:latin typeface="Tahoma" pitchFamily="34" charset="0"/>
              <a:cs typeface="Tahoma" pitchFamily="34" charset="0"/>
            </a:endParaRPr>
          </a:p>
        </p:txBody>
      </p:sp>
      <p:pic>
        <p:nvPicPr>
          <p:cNvPr id="1033" name="Picture 9" descr="tud_logo"/>
          <p:cNvPicPr>
            <a:picLocks noChangeArrowheads="1"/>
          </p:cNvPicPr>
          <p:nvPr/>
        </p:nvPicPr>
        <p:blipFill>
          <a:blip r:embed="rId11" cstate="print"/>
          <a:srcRect r="5453"/>
          <a:stretch>
            <a:fillRect/>
          </a:stretch>
        </p:blipFill>
        <p:spPr bwMode="auto">
          <a:xfrm>
            <a:off x="9980931" y="488950"/>
            <a:ext cx="1874520" cy="7921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38" name="Line 14"/>
          <p:cNvSpPr>
            <a:spLocks noChangeShapeType="1"/>
          </p:cNvSpPr>
          <p:nvPr/>
        </p:nvSpPr>
        <p:spPr bwMode="auto">
          <a:xfrm>
            <a:off x="334437" y="1449388"/>
            <a:ext cx="11521017" cy="0"/>
          </a:xfrm>
          <a:prstGeom prst="line">
            <a:avLst/>
          </a:prstGeom>
          <a:noFill/>
          <a:ln w="7620">
            <a:solidFill>
              <a:srgbClr val="000000"/>
            </a:solidFill>
            <a:round/>
            <a:headEnd/>
            <a:tailEnd/>
          </a:ln>
        </p:spPr>
        <p:txBody>
          <a:bodyPr/>
          <a:lstStyle/>
          <a:p>
            <a:endParaRPr lang="de-DE" dirty="0">
              <a:latin typeface="Tahoma" pitchFamily="34" charset="0"/>
              <a:cs typeface="Tahoma" pitchFamily="34" charset="0"/>
            </a:endParaRPr>
          </a:p>
        </p:txBody>
      </p:sp>
      <p:sp>
        <p:nvSpPr>
          <p:cNvPr id="1040" name="Rectangle 16"/>
          <p:cNvSpPr>
            <a:spLocks noChangeArrowheads="1"/>
          </p:cNvSpPr>
          <p:nvPr/>
        </p:nvSpPr>
        <p:spPr bwMode="auto">
          <a:xfrm>
            <a:off x="334437" y="366718"/>
            <a:ext cx="11521017" cy="14287"/>
          </a:xfrm>
          <a:prstGeom prst="rect">
            <a:avLst/>
          </a:prstGeom>
          <a:solidFill>
            <a:srgbClr val="000000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de-DE" dirty="0">
              <a:latin typeface="Tahoma" pitchFamily="34" charset="0"/>
              <a:cs typeface="Tahoma" pitchFamily="34" charset="0"/>
            </a:endParaRPr>
          </a:p>
        </p:txBody>
      </p:sp>
      <p:sp>
        <p:nvSpPr>
          <p:cNvPr id="12" name="Fußzeilenplatzhalter 3">
            <a:extLst>
              <a:ext uri="{FF2B5EF4-FFF2-40B4-BE49-F238E27FC236}">
                <a16:creationId xmlns:a16="http://schemas.microsoft.com/office/drawing/2014/main" id="{017D4F87-CB5E-435E-ADBB-D22E197AE94C}"/>
              </a:ext>
            </a:extLst>
          </p:cNvPr>
          <p:cNvSpPr txBox="1">
            <a:spLocks/>
          </p:cNvSpPr>
          <p:nvPr userDrawn="1"/>
        </p:nvSpPr>
        <p:spPr>
          <a:xfrm>
            <a:off x="2254251" y="6491516"/>
            <a:ext cx="9601200" cy="231775"/>
          </a:xfrm>
          <a:prstGeom prst="rect">
            <a:avLst/>
          </a:prstGeom>
          <a:noFill/>
        </p:spPr>
        <p:txBody>
          <a:bodyPr/>
          <a:lstStyle>
            <a:lvl1pPr>
              <a:defRPr/>
            </a:lvl1pPr>
          </a:lstStyle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8E9B2640-8CD7-45FF-9440-54608BC46479}" type="slidenum">
              <a:rPr kumimoji="0" lang="de-DE" sz="10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ahoma" pitchFamily="34" charset="0"/>
                <a:ea typeface="+mn-ea"/>
                <a:cs typeface="Tahoma" pitchFamily="34" charset="0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de-DE" sz="10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Tahoma" pitchFamily="34" charset="0"/>
              <a:ea typeface="+mn-ea"/>
              <a:cs typeface="Tahoma" pitchFamily="34" charset="0"/>
            </a:endParaRPr>
          </a:p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10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Tahoma" pitchFamily="34" charset="0"/>
              <a:ea typeface="+mn-ea"/>
              <a:cs typeface="Tahoma" pitchFamily="34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4" r:id="rId5"/>
    <p:sldLayoutId id="2147483655" r:id="rId6"/>
    <p:sldLayoutId id="2147483660" r:id="rId7"/>
    <p:sldLayoutId id="2147483656" r:id="rId8"/>
    <p:sldLayoutId id="2147483699" r:id="rId9"/>
  </p:sldLayoutIdLst>
  <p:hf hdr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Tahoma" pitchFamily="34" charset="0"/>
          <a:ea typeface="+mj-ea"/>
          <a:cs typeface="Tahoma" pitchFamily="34" charset="0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</a:defRPr>
      </a:lvl9pPr>
    </p:titleStyle>
    <p:bodyStyle>
      <a:lvl1pPr marL="179388" indent="-179388" algn="l" rtl="0" eaLnBrk="1" fontAlgn="base" hangingPunct="1">
        <a:lnSpc>
          <a:spcPct val="130000"/>
        </a:lnSpc>
        <a:spcBef>
          <a:spcPts val="200"/>
        </a:spcBef>
        <a:spcAft>
          <a:spcPts val="230"/>
        </a:spcAft>
        <a:buFont typeface="Wingdings" pitchFamily="2" charset="2"/>
        <a:buNone/>
        <a:defRPr sz="2000">
          <a:solidFill>
            <a:schemeClr val="tx1"/>
          </a:solidFill>
          <a:latin typeface="Tahoma" pitchFamily="34" charset="0"/>
          <a:ea typeface="+mn-ea"/>
          <a:cs typeface="Tahoma" pitchFamily="34" charset="0"/>
        </a:defRPr>
      </a:lvl1pPr>
      <a:lvl2pPr marL="179388" indent="-177800" algn="l" rtl="0" eaLnBrk="1" fontAlgn="base" hangingPunct="1">
        <a:lnSpc>
          <a:spcPct val="130000"/>
        </a:lnSpc>
        <a:spcBef>
          <a:spcPts val="200"/>
        </a:spcBef>
        <a:spcAft>
          <a:spcPts val="230"/>
        </a:spcAft>
        <a:buFont typeface="Wingdings" pitchFamily="2" charset="2"/>
        <a:buChar char="§"/>
        <a:defRPr sz="2000">
          <a:solidFill>
            <a:schemeClr val="tx1"/>
          </a:solidFill>
          <a:latin typeface="Tahoma" pitchFamily="34" charset="0"/>
          <a:cs typeface="Tahoma" pitchFamily="34" charset="0"/>
        </a:defRPr>
      </a:lvl2pPr>
      <a:lvl3pPr marL="538163" indent="-187325" algn="l" rtl="0" eaLnBrk="1" fontAlgn="base" hangingPunct="1">
        <a:lnSpc>
          <a:spcPct val="130000"/>
        </a:lnSpc>
        <a:spcBef>
          <a:spcPts val="200"/>
        </a:spcBef>
        <a:spcAft>
          <a:spcPts val="230"/>
        </a:spcAft>
        <a:buFont typeface="Wingdings" pitchFamily="2" charset="2"/>
        <a:buChar char="§"/>
        <a:defRPr>
          <a:solidFill>
            <a:schemeClr val="tx1"/>
          </a:solidFill>
          <a:latin typeface="Tahoma" pitchFamily="34" charset="0"/>
          <a:cs typeface="Tahoma" pitchFamily="34" charset="0"/>
        </a:defRPr>
      </a:lvl3pPr>
      <a:lvl4pPr marL="717550" indent="-173038" algn="l" rtl="0" eaLnBrk="1" fontAlgn="base" hangingPunct="1">
        <a:lnSpc>
          <a:spcPct val="130000"/>
        </a:lnSpc>
        <a:spcBef>
          <a:spcPts val="200"/>
        </a:spcBef>
        <a:spcAft>
          <a:spcPts val="230"/>
        </a:spcAft>
        <a:buFont typeface="Wingdings" pitchFamily="2" charset="2"/>
        <a:buChar char="§"/>
        <a:defRPr sz="1600">
          <a:solidFill>
            <a:schemeClr val="tx1"/>
          </a:solidFill>
          <a:latin typeface="Tahoma" pitchFamily="34" charset="0"/>
          <a:cs typeface="Tahoma" pitchFamily="34" charset="0"/>
        </a:defRPr>
      </a:lvl4pPr>
      <a:lvl5pPr marL="908050" indent="-188913" algn="l" rtl="0" eaLnBrk="1" fontAlgn="base" hangingPunct="1">
        <a:lnSpc>
          <a:spcPct val="130000"/>
        </a:lnSpc>
        <a:spcBef>
          <a:spcPts val="200"/>
        </a:spcBef>
        <a:spcAft>
          <a:spcPts val="230"/>
        </a:spcAft>
        <a:buFont typeface="Wingdings" pitchFamily="2" charset="2"/>
        <a:buChar char="§"/>
        <a:defRPr sz="1600">
          <a:solidFill>
            <a:schemeClr val="tx1"/>
          </a:solidFill>
          <a:latin typeface="Tahoma" pitchFamily="34" charset="0"/>
          <a:cs typeface="Tahoma" pitchFamily="34" charset="0"/>
        </a:defRPr>
      </a:lvl5pPr>
      <a:lvl6pPr marL="1365250" indent="-188913" algn="l" rtl="0" eaLnBrk="1" fontAlgn="base" hangingPunct="1">
        <a:spcBef>
          <a:spcPct val="20000"/>
        </a:spcBef>
        <a:spcAft>
          <a:spcPct val="0"/>
        </a:spcAft>
        <a:buFont typeface="Wingdings" pitchFamily="2" charset="2"/>
        <a:buChar char="§"/>
        <a:defRPr sz="1600">
          <a:solidFill>
            <a:schemeClr val="tx1"/>
          </a:solidFill>
          <a:latin typeface="+mn-lt"/>
        </a:defRPr>
      </a:lvl6pPr>
      <a:lvl7pPr marL="1822450" indent="-188913" algn="l" rtl="0" eaLnBrk="1" fontAlgn="base" hangingPunct="1">
        <a:spcBef>
          <a:spcPct val="20000"/>
        </a:spcBef>
        <a:spcAft>
          <a:spcPct val="0"/>
        </a:spcAft>
        <a:buFont typeface="Wingdings" pitchFamily="2" charset="2"/>
        <a:buChar char="§"/>
        <a:defRPr sz="1600">
          <a:solidFill>
            <a:schemeClr val="tx1"/>
          </a:solidFill>
          <a:latin typeface="+mn-lt"/>
        </a:defRPr>
      </a:lvl7pPr>
      <a:lvl8pPr marL="2279650" indent="-188913" algn="l" rtl="0" eaLnBrk="1" fontAlgn="base" hangingPunct="1">
        <a:spcBef>
          <a:spcPct val="20000"/>
        </a:spcBef>
        <a:spcAft>
          <a:spcPct val="0"/>
        </a:spcAft>
        <a:buFont typeface="Wingdings" pitchFamily="2" charset="2"/>
        <a:buChar char="§"/>
        <a:defRPr sz="1600">
          <a:solidFill>
            <a:schemeClr val="tx1"/>
          </a:solidFill>
          <a:latin typeface="+mn-lt"/>
        </a:defRPr>
      </a:lvl8pPr>
      <a:lvl9pPr marL="2736850" indent="-188913" algn="l" rtl="0" eaLnBrk="1" fontAlgn="base" hangingPunct="1">
        <a:spcBef>
          <a:spcPct val="20000"/>
        </a:spcBef>
        <a:spcAft>
          <a:spcPct val="0"/>
        </a:spcAft>
        <a:buFont typeface="Wingdings" pitchFamily="2" charset="2"/>
        <a:buChar char="§"/>
        <a:defRPr sz="1600">
          <a:solidFill>
            <a:schemeClr val="tx1"/>
          </a:solidFill>
          <a:latin typeface="+mn-lt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7" Type="http://schemas.openxmlformats.org/officeDocument/2006/relationships/image" Target="../media/image11.sv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0.png"/><Relationship Id="rId5" Type="http://schemas.openxmlformats.org/officeDocument/2006/relationships/image" Target="../media/image9.svg"/><Relationship Id="rId4" Type="http://schemas.openxmlformats.org/officeDocument/2006/relationships/image" Target="../media/image8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7" Type="http://schemas.openxmlformats.org/officeDocument/2006/relationships/image" Target="../media/image11.sv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0.png"/><Relationship Id="rId5" Type="http://schemas.openxmlformats.org/officeDocument/2006/relationships/image" Target="../media/image9.svg"/><Relationship Id="rId4" Type="http://schemas.openxmlformats.org/officeDocument/2006/relationships/image" Target="../media/image8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7" Type="http://schemas.openxmlformats.org/officeDocument/2006/relationships/image" Target="../media/image11.sv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0.png"/><Relationship Id="rId5" Type="http://schemas.openxmlformats.org/officeDocument/2006/relationships/image" Target="../media/image9.svg"/><Relationship Id="rId4" Type="http://schemas.openxmlformats.org/officeDocument/2006/relationships/image" Target="../media/image8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7" Type="http://schemas.openxmlformats.org/officeDocument/2006/relationships/image" Target="../media/image11.sv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0.png"/><Relationship Id="rId5" Type="http://schemas.openxmlformats.org/officeDocument/2006/relationships/image" Target="../media/image9.svg"/><Relationship Id="rId4" Type="http://schemas.openxmlformats.org/officeDocument/2006/relationships/image" Target="../media/image8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microsoft.com/office/2007/relationships/media" Target="../media/media1.mp4"/><Relationship Id="rId1" Type="http://schemas.openxmlformats.org/officeDocument/2006/relationships/video" Target="NULL" TargetMode="External"/><Relationship Id="rId4" Type="http://schemas.openxmlformats.org/officeDocument/2006/relationships/image" Target="../media/image12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6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78367" y="1555750"/>
            <a:ext cx="8856156" cy="838200"/>
          </a:xfrm>
        </p:spPr>
        <p:txBody>
          <a:bodyPr/>
          <a:lstStyle/>
          <a:p>
            <a:r>
              <a:rPr lang="de-DE" dirty="0"/>
              <a:t>Master Thesis </a:t>
            </a:r>
            <a:r>
              <a:rPr lang="en-US" dirty="0"/>
              <a:t>of</a:t>
            </a:r>
            <a:r>
              <a:rPr lang="de-DE" dirty="0"/>
              <a:t> Isabella N. Grieser</a:t>
            </a:r>
            <a:endParaRPr lang="en-US" dirty="0"/>
          </a:p>
        </p:txBody>
      </p:sp>
      <p:sp>
        <p:nvSpPr>
          <p:cNvPr id="3075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>
              <a:lnSpc>
                <a:spcPct val="120000"/>
              </a:lnSpc>
            </a:pPr>
            <a:r>
              <a:rPr lang="en-US" dirty="0"/>
              <a:t>Modeling and Analysis of Human Behavior Impacts on Energy Systems during Crisis Events</a:t>
            </a:r>
          </a:p>
        </p:txBody>
      </p:sp>
    </p:spTree>
    <p:extLst>
      <p:ext uri="{BB962C8B-B14F-4D97-AF65-F5344CB8AC3E}">
        <p14:creationId xmlns:p14="http://schemas.microsoft.com/office/powerpoint/2010/main" val="206139193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8EEF76A-CBED-CC75-7EBE-49938DFBDC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The Power </a:t>
            </a:r>
            <a:r>
              <a:rPr lang="de-DE" dirty="0" err="1"/>
              <a:t>Grid</a:t>
            </a:r>
            <a:r>
              <a:rPr lang="de-DE" dirty="0"/>
              <a:t> </a:t>
            </a:r>
            <a:r>
              <a:rPr lang="de-DE" dirty="0" err="1"/>
              <a:t>can</a:t>
            </a:r>
            <a:r>
              <a:rPr lang="de-DE" dirty="0"/>
              <a:t> </a:t>
            </a:r>
            <a:r>
              <a:rPr lang="de-DE" dirty="0" err="1"/>
              <a:t>be</a:t>
            </a:r>
            <a:r>
              <a:rPr lang="de-DE" dirty="0"/>
              <a:t> </a:t>
            </a:r>
            <a:r>
              <a:rPr lang="de-DE" dirty="0" err="1"/>
              <a:t>affected</a:t>
            </a:r>
            <a:r>
              <a:rPr lang="de-DE" dirty="0"/>
              <a:t> </a:t>
            </a:r>
            <a:r>
              <a:rPr lang="de-DE" dirty="0" err="1"/>
              <a:t>by</a:t>
            </a:r>
            <a:r>
              <a:rPr lang="de-DE" dirty="0"/>
              <a:t> Human </a:t>
            </a:r>
            <a:r>
              <a:rPr lang="de-DE" dirty="0" err="1"/>
              <a:t>Behavior</a:t>
            </a:r>
            <a:endParaRPr lang="de-DE" dirty="0"/>
          </a:p>
        </p:txBody>
      </p:sp>
      <p:graphicFrame>
        <p:nvGraphicFramePr>
          <p:cNvPr id="9" name="Diagramm 8">
            <a:extLst>
              <a:ext uri="{FF2B5EF4-FFF2-40B4-BE49-F238E27FC236}">
                <a16:creationId xmlns:a16="http://schemas.microsoft.com/office/drawing/2014/main" id="{7DF9BFEE-9FA3-A0B7-9EB3-CDA1687C0E2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42500959"/>
              </p:ext>
            </p:extLst>
          </p:nvPr>
        </p:nvGraphicFramePr>
        <p:xfrm>
          <a:off x="2351584" y="1628800"/>
          <a:ext cx="7920880" cy="504055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364704579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7F701A3-2404-A9B8-5FC9-0D63435EEFB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ould it be possible to predict an increased Power Demand based on Real Variables?</a:t>
            </a:r>
          </a:p>
        </p:txBody>
      </p:sp>
      <p:sp>
        <p:nvSpPr>
          <p:cNvPr id="4" name="Rechteck: abgerundete Ecken 3">
            <a:extLst>
              <a:ext uri="{FF2B5EF4-FFF2-40B4-BE49-F238E27FC236}">
                <a16:creationId xmlns:a16="http://schemas.microsoft.com/office/drawing/2014/main" id="{8E74A200-D164-A801-A0EF-4C59769E503B}"/>
              </a:ext>
            </a:extLst>
          </p:cNvPr>
          <p:cNvSpPr/>
          <p:nvPr/>
        </p:nvSpPr>
        <p:spPr>
          <a:xfrm>
            <a:off x="1451898" y="2275655"/>
            <a:ext cx="8856156" cy="504056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dirty="0"/>
              <a:t>Power Demand </a:t>
            </a:r>
            <a:r>
              <a:rPr lang="de-DE" dirty="0" err="1"/>
              <a:t>correlates</a:t>
            </a:r>
            <a:r>
              <a:rPr lang="de-DE" dirty="0"/>
              <a:t> </a:t>
            </a:r>
            <a:r>
              <a:rPr lang="de-DE" dirty="0" err="1"/>
              <a:t>with</a:t>
            </a:r>
            <a:r>
              <a:rPr lang="de-DE" dirty="0"/>
              <a:t> Variables </a:t>
            </a:r>
            <a:r>
              <a:rPr lang="de-DE" dirty="0" err="1"/>
              <a:t>based</a:t>
            </a:r>
            <a:r>
              <a:rPr lang="de-DE" dirty="0"/>
              <a:t> on Human </a:t>
            </a:r>
            <a:r>
              <a:rPr lang="de-DE" dirty="0" err="1"/>
              <a:t>Behavior</a:t>
            </a:r>
            <a:endParaRPr lang="de-DE" dirty="0"/>
          </a:p>
        </p:txBody>
      </p:sp>
      <p:sp>
        <p:nvSpPr>
          <p:cNvPr id="5" name="Pfeil: nach unten 4">
            <a:extLst>
              <a:ext uri="{FF2B5EF4-FFF2-40B4-BE49-F238E27FC236}">
                <a16:creationId xmlns:a16="http://schemas.microsoft.com/office/drawing/2014/main" id="{CC0F0691-5F2F-7C31-395D-5691A72CE7AA}"/>
              </a:ext>
            </a:extLst>
          </p:cNvPr>
          <p:cNvSpPr/>
          <p:nvPr/>
        </p:nvSpPr>
        <p:spPr>
          <a:xfrm>
            <a:off x="5303912" y="2924944"/>
            <a:ext cx="1152128" cy="648072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/>
          </a:p>
        </p:txBody>
      </p:sp>
      <p:sp>
        <p:nvSpPr>
          <p:cNvPr id="6" name="Rechteck: abgerundete Ecken 5">
            <a:extLst>
              <a:ext uri="{FF2B5EF4-FFF2-40B4-BE49-F238E27FC236}">
                <a16:creationId xmlns:a16="http://schemas.microsoft.com/office/drawing/2014/main" id="{52928A80-2811-D86C-B12C-69339547B662}"/>
              </a:ext>
            </a:extLst>
          </p:cNvPr>
          <p:cNvSpPr/>
          <p:nvPr/>
        </p:nvSpPr>
        <p:spPr>
          <a:xfrm>
            <a:off x="1451898" y="3933055"/>
            <a:ext cx="8856156" cy="504057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dirty="0"/>
              <a:t>Use </a:t>
            </a:r>
            <a:r>
              <a:rPr lang="de-DE" dirty="0" err="1"/>
              <a:t>these</a:t>
            </a:r>
            <a:r>
              <a:rPr lang="de-DE" dirty="0"/>
              <a:t> Variables </a:t>
            </a:r>
            <a:r>
              <a:rPr lang="de-DE" dirty="0" err="1"/>
              <a:t>as</a:t>
            </a:r>
            <a:r>
              <a:rPr lang="de-DE" dirty="0"/>
              <a:t> Inputs </a:t>
            </a:r>
            <a:r>
              <a:rPr lang="de-DE" dirty="0" err="1"/>
              <a:t>to</a:t>
            </a:r>
            <a:r>
              <a:rPr lang="de-DE" dirty="0"/>
              <a:t> monitor and </a:t>
            </a:r>
            <a:r>
              <a:rPr lang="de-DE" dirty="0" err="1"/>
              <a:t>predict</a:t>
            </a:r>
            <a:r>
              <a:rPr lang="de-DE" dirty="0"/>
              <a:t> Power Demand </a:t>
            </a:r>
            <a:r>
              <a:rPr lang="de-DE" dirty="0" err="1"/>
              <a:t>surges</a:t>
            </a:r>
            <a:r>
              <a:rPr lang="de-DE" dirty="0"/>
              <a:t> </a:t>
            </a:r>
          </a:p>
        </p:txBody>
      </p:sp>
      <p:sp>
        <p:nvSpPr>
          <p:cNvPr id="7" name="Rechteck: abgerundete Ecken 6">
            <a:extLst>
              <a:ext uri="{FF2B5EF4-FFF2-40B4-BE49-F238E27FC236}">
                <a16:creationId xmlns:a16="http://schemas.microsoft.com/office/drawing/2014/main" id="{CF534D2D-A4CD-4287-D137-F255F9D19B01}"/>
              </a:ext>
            </a:extLst>
          </p:cNvPr>
          <p:cNvSpPr/>
          <p:nvPr/>
        </p:nvSpPr>
        <p:spPr>
          <a:xfrm>
            <a:off x="1451898" y="4581128"/>
            <a:ext cx="2736304" cy="504057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dirty="0" err="1"/>
              <a:t>Social</a:t>
            </a:r>
            <a:r>
              <a:rPr lang="de-DE" dirty="0"/>
              <a:t> Media Data</a:t>
            </a:r>
          </a:p>
        </p:txBody>
      </p:sp>
      <p:sp>
        <p:nvSpPr>
          <p:cNvPr id="9" name="Rechteck: abgerundete Ecken 8">
            <a:extLst>
              <a:ext uri="{FF2B5EF4-FFF2-40B4-BE49-F238E27FC236}">
                <a16:creationId xmlns:a16="http://schemas.microsoft.com/office/drawing/2014/main" id="{4B4A983A-C070-2F6B-913B-202656E8313A}"/>
              </a:ext>
            </a:extLst>
          </p:cNvPr>
          <p:cNvSpPr/>
          <p:nvPr/>
        </p:nvSpPr>
        <p:spPr>
          <a:xfrm>
            <a:off x="4511824" y="4581128"/>
            <a:ext cx="2736304" cy="504057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dirty="0"/>
              <a:t>Traffic Data</a:t>
            </a:r>
          </a:p>
        </p:txBody>
      </p:sp>
      <p:sp>
        <p:nvSpPr>
          <p:cNvPr id="10" name="Rechteck: abgerundete Ecken 9">
            <a:extLst>
              <a:ext uri="{FF2B5EF4-FFF2-40B4-BE49-F238E27FC236}">
                <a16:creationId xmlns:a16="http://schemas.microsoft.com/office/drawing/2014/main" id="{11F97089-E2FE-0221-3C96-01A04AB6D8EA}"/>
              </a:ext>
            </a:extLst>
          </p:cNvPr>
          <p:cNvSpPr/>
          <p:nvPr/>
        </p:nvSpPr>
        <p:spPr>
          <a:xfrm>
            <a:off x="7571750" y="4581127"/>
            <a:ext cx="2736304" cy="504057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dirty="0"/>
              <a:t>….</a:t>
            </a:r>
          </a:p>
        </p:txBody>
      </p:sp>
    </p:spTree>
    <p:extLst>
      <p:ext uri="{BB962C8B-B14F-4D97-AF65-F5344CB8AC3E}">
        <p14:creationId xmlns:p14="http://schemas.microsoft.com/office/powerpoint/2010/main" val="318455534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7F701A3-2404-A9B8-5FC9-0D63435EEFB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se Variables could be used to create a monitoring Platform for possible Panic Buying Behavior for the Power Grid</a:t>
            </a:r>
          </a:p>
        </p:txBody>
      </p:sp>
      <p:sp>
        <p:nvSpPr>
          <p:cNvPr id="7" name="Rechteck: abgerundete Ecken 6">
            <a:extLst>
              <a:ext uri="{FF2B5EF4-FFF2-40B4-BE49-F238E27FC236}">
                <a16:creationId xmlns:a16="http://schemas.microsoft.com/office/drawing/2014/main" id="{CF534D2D-A4CD-4287-D137-F255F9D19B01}"/>
              </a:ext>
            </a:extLst>
          </p:cNvPr>
          <p:cNvSpPr/>
          <p:nvPr/>
        </p:nvSpPr>
        <p:spPr>
          <a:xfrm>
            <a:off x="478367" y="3176971"/>
            <a:ext cx="1584176" cy="504057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dirty="0" err="1"/>
              <a:t>Social</a:t>
            </a:r>
            <a:r>
              <a:rPr lang="de-DE" dirty="0"/>
              <a:t> Media Data</a:t>
            </a:r>
          </a:p>
        </p:txBody>
      </p:sp>
      <p:sp>
        <p:nvSpPr>
          <p:cNvPr id="8" name="Rechteck: abgerundete Ecken 7">
            <a:extLst>
              <a:ext uri="{FF2B5EF4-FFF2-40B4-BE49-F238E27FC236}">
                <a16:creationId xmlns:a16="http://schemas.microsoft.com/office/drawing/2014/main" id="{2BB52878-98CB-74CD-4FB5-E394474D0912}"/>
              </a:ext>
            </a:extLst>
          </p:cNvPr>
          <p:cNvSpPr/>
          <p:nvPr/>
        </p:nvSpPr>
        <p:spPr>
          <a:xfrm>
            <a:off x="478367" y="3897051"/>
            <a:ext cx="1584176" cy="504057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dirty="0"/>
              <a:t>….</a:t>
            </a:r>
          </a:p>
        </p:txBody>
      </p:sp>
      <p:sp>
        <p:nvSpPr>
          <p:cNvPr id="11" name="Rechteck: abgerundete Ecken 10">
            <a:extLst>
              <a:ext uri="{FF2B5EF4-FFF2-40B4-BE49-F238E27FC236}">
                <a16:creationId xmlns:a16="http://schemas.microsoft.com/office/drawing/2014/main" id="{B28EB07E-CC38-E24E-53EC-81F655433E4E}"/>
              </a:ext>
            </a:extLst>
          </p:cNvPr>
          <p:cNvSpPr/>
          <p:nvPr/>
        </p:nvSpPr>
        <p:spPr>
          <a:xfrm>
            <a:off x="2872340" y="3284984"/>
            <a:ext cx="2232248" cy="963726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dirty="0" err="1"/>
              <a:t>Predict</a:t>
            </a:r>
            <a:r>
              <a:rPr lang="de-DE" dirty="0"/>
              <a:t> Model Parameters</a:t>
            </a:r>
          </a:p>
        </p:txBody>
      </p:sp>
      <p:cxnSp>
        <p:nvCxnSpPr>
          <p:cNvPr id="13" name="Verbinder: gewinkelt 12">
            <a:extLst>
              <a:ext uri="{FF2B5EF4-FFF2-40B4-BE49-F238E27FC236}">
                <a16:creationId xmlns:a16="http://schemas.microsoft.com/office/drawing/2014/main" id="{DA59E82A-3971-F956-F948-F0580D12FD35}"/>
              </a:ext>
            </a:extLst>
          </p:cNvPr>
          <p:cNvCxnSpPr>
            <a:stCxn id="7" idx="3"/>
            <a:endCxn id="11" idx="1"/>
          </p:cNvCxnSpPr>
          <p:nvPr/>
        </p:nvCxnSpPr>
        <p:spPr>
          <a:xfrm>
            <a:off x="2062543" y="3429000"/>
            <a:ext cx="809797" cy="337847"/>
          </a:xfrm>
          <a:prstGeom prst="bentConnector3">
            <a:avLst/>
          </a:prstGeom>
          <a:ln w="127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Verbinder: gewinkelt 14">
            <a:extLst>
              <a:ext uri="{FF2B5EF4-FFF2-40B4-BE49-F238E27FC236}">
                <a16:creationId xmlns:a16="http://schemas.microsoft.com/office/drawing/2014/main" id="{5388C56D-F778-3637-4BCF-3ED8905BC12B}"/>
              </a:ext>
            </a:extLst>
          </p:cNvPr>
          <p:cNvCxnSpPr>
            <a:stCxn id="8" idx="3"/>
            <a:endCxn id="11" idx="1"/>
          </p:cNvCxnSpPr>
          <p:nvPr/>
        </p:nvCxnSpPr>
        <p:spPr>
          <a:xfrm flipV="1">
            <a:off x="2062543" y="3766847"/>
            <a:ext cx="809797" cy="382233"/>
          </a:xfrm>
          <a:prstGeom prst="bentConnector3">
            <a:avLst/>
          </a:prstGeom>
          <a:ln w="127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Rechteck: abgerundete Ecken 15">
            <a:extLst>
              <a:ext uri="{FF2B5EF4-FFF2-40B4-BE49-F238E27FC236}">
                <a16:creationId xmlns:a16="http://schemas.microsoft.com/office/drawing/2014/main" id="{BB0B4EA5-878D-8271-7D1C-1A082934784C}"/>
              </a:ext>
            </a:extLst>
          </p:cNvPr>
          <p:cNvSpPr/>
          <p:nvPr/>
        </p:nvSpPr>
        <p:spPr>
          <a:xfrm>
            <a:off x="5447928" y="3284984"/>
            <a:ext cx="2232248" cy="963726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dirty="0"/>
              <a:t>Run Simulation</a:t>
            </a:r>
          </a:p>
        </p:txBody>
      </p:sp>
      <p:sp>
        <p:nvSpPr>
          <p:cNvPr id="17" name="Rechteck: abgerundete Ecken 16">
            <a:extLst>
              <a:ext uri="{FF2B5EF4-FFF2-40B4-BE49-F238E27FC236}">
                <a16:creationId xmlns:a16="http://schemas.microsoft.com/office/drawing/2014/main" id="{3449728B-672D-7AB6-C2EF-B996874FD672}"/>
              </a:ext>
            </a:extLst>
          </p:cNvPr>
          <p:cNvSpPr/>
          <p:nvPr/>
        </p:nvSpPr>
        <p:spPr>
          <a:xfrm>
            <a:off x="8023516" y="3284984"/>
            <a:ext cx="2825012" cy="963726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dirty="0"/>
              <a:t>Power Demand </a:t>
            </a:r>
            <a:r>
              <a:rPr lang="de-DE" dirty="0" err="1"/>
              <a:t>critical</a:t>
            </a:r>
            <a:r>
              <a:rPr lang="de-DE" dirty="0"/>
              <a:t>?</a:t>
            </a:r>
          </a:p>
          <a:p>
            <a:pPr algn="ctr"/>
            <a:r>
              <a:rPr lang="de-DE" dirty="0"/>
              <a:t>Yes/</a:t>
            </a:r>
            <a:r>
              <a:rPr lang="de-DE" dirty="0" err="1"/>
              <a:t>No</a:t>
            </a:r>
            <a:r>
              <a:rPr lang="de-DE" dirty="0"/>
              <a:t> </a:t>
            </a:r>
          </a:p>
        </p:txBody>
      </p:sp>
      <p:cxnSp>
        <p:nvCxnSpPr>
          <p:cNvPr id="19" name="Gerade Verbindung mit Pfeil 18">
            <a:extLst>
              <a:ext uri="{FF2B5EF4-FFF2-40B4-BE49-F238E27FC236}">
                <a16:creationId xmlns:a16="http://schemas.microsoft.com/office/drawing/2014/main" id="{A107CD90-56BD-70A1-F07C-BAEB2EE1908E}"/>
              </a:ext>
            </a:extLst>
          </p:cNvPr>
          <p:cNvCxnSpPr>
            <a:stCxn id="11" idx="3"/>
            <a:endCxn id="16" idx="1"/>
          </p:cNvCxnSpPr>
          <p:nvPr/>
        </p:nvCxnSpPr>
        <p:spPr>
          <a:xfrm>
            <a:off x="5104588" y="3766847"/>
            <a:ext cx="343340" cy="0"/>
          </a:xfrm>
          <a:prstGeom prst="straightConnector1">
            <a:avLst/>
          </a:prstGeom>
          <a:ln w="127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 Verbindung mit Pfeil 19">
            <a:extLst>
              <a:ext uri="{FF2B5EF4-FFF2-40B4-BE49-F238E27FC236}">
                <a16:creationId xmlns:a16="http://schemas.microsoft.com/office/drawing/2014/main" id="{87012A44-74F4-634C-DE6C-BF6BEEF6118B}"/>
              </a:ext>
            </a:extLst>
          </p:cNvPr>
          <p:cNvCxnSpPr>
            <a:cxnSpLocks/>
            <a:stCxn id="16" idx="3"/>
            <a:endCxn id="17" idx="1"/>
          </p:cNvCxnSpPr>
          <p:nvPr/>
        </p:nvCxnSpPr>
        <p:spPr>
          <a:xfrm>
            <a:off x="7680176" y="3766847"/>
            <a:ext cx="343340" cy="0"/>
          </a:xfrm>
          <a:prstGeom prst="straightConnector1">
            <a:avLst/>
          </a:prstGeom>
          <a:ln w="127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4741423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ACFC4A4-6FFA-2C26-6B73-A7362350DBE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imeline for the Master Thesis</a:t>
            </a:r>
          </a:p>
        </p:txBody>
      </p:sp>
      <p:graphicFrame>
        <p:nvGraphicFramePr>
          <p:cNvPr id="4" name="Inhaltsplatzhalter 3">
            <a:extLst>
              <a:ext uri="{FF2B5EF4-FFF2-40B4-BE49-F238E27FC236}">
                <a16:creationId xmlns:a16="http://schemas.microsoft.com/office/drawing/2014/main" id="{5A5F3E2F-2A89-4FC2-F853-26465DF47D1C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164569214"/>
              </p:ext>
            </p:extLst>
          </p:nvPr>
        </p:nvGraphicFramePr>
        <p:xfrm>
          <a:off x="334963" y="2276871"/>
          <a:ext cx="11522075" cy="273630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223872459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B4E87CA-8FA7-CF05-AD3F-6B6FF62444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416" y="3044830"/>
            <a:ext cx="8561940" cy="1362075"/>
          </a:xfrm>
        </p:spPr>
        <p:txBody>
          <a:bodyPr/>
          <a:lstStyle/>
          <a:p>
            <a:r>
              <a:rPr lang="de-DE" dirty="0"/>
              <a:t>Questions?</a:t>
            </a:r>
            <a:br>
              <a:rPr lang="de-DE" dirty="0"/>
            </a:br>
            <a:br>
              <a:rPr lang="de-DE" dirty="0"/>
            </a:br>
            <a:r>
              <a:rPr lang="en-US" dirty="0"/>
              <a:t>Ideas?</a:t>
            </a:r>
          </a:p>
        </p:txBody>
      </p:sp>
    </p:spTree>
    <p:extLst>
      <p:ext uri="{BB962C8B-B14F-4D97-AF65-F5344CB8AC3E}">
        <p14:creationId xmlns:p14="http://schemas.microsoft.com/office/powerpoint/2010/main" val="657650649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4E0CAAC-6B0A-8DDA-B066-3133142918D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Sources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92780D47-1953-A6F4-6A5B-C4307B02FAD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1100" b="0" dirty="0"/>
              <a:t>[1] </a:t>
            </a:r>
            <a:r>
              <a:rPr lang="en-US" sz="1100" b="0" dirty="0" err="1"/>
              <a:t>Honigsbaum</a:t>
            </a:r>
            <a:r>
              <a:rPr lang="en-US" sz="1100" b="0" dirty="0"/>
              <a:t>, Mark. "Regulating the 1918–19 pandemic: Flu, stoicism and the Northcliffe press." </a:t>
            </a:r>
            <a:r>
              <a:rPr lang="en-US" sz="1100" b="0" i="1" dirty="0"/>
              <a:t>Medical history</a:t>
            </a:r>
            <a:r>
              <a:rPr lang="en-US" sz="1100" b="0" dirty="0"/>
              <a:t> 57.2 (2013): 165-185.</a:t>
            </a:r>
          </a:p>
          <a:p>
            <a:pPr algn="l"/>
            <a:r>
              <a:rPr lang="en-US" sz="1100" b="0" dirty="0"/>
              <a:t>[2] George, Alice L. </a:t>
            </a:r>
            <a:r>
              <a:rPr lang="en-US" sz="1100" b="0" i="1" dirty="0"/>
              <a:t>Awaiting Armageddon: How Americans Faced the Cuban Missile Crisis</a:t>
            </a:r>
            <a:r>
              <a:rPr lang="en-US" sz="1100" b="0" dirty="0"/>
              <a:t>. UNC Press Books, 2004.</a:t>
            </a:r>
          </a:p>
          <a:p>
            <a:pPr algn="l"/>
            <a:r>
              <a:rPr lang="en-US" sz="1100" b="0" dirty="0"/>
              <a:t>[3] Alvarez, Lizette. “In Florida, Searching for Gas and Water, and Watching Irma." The New York Times, https://www.nytimes.com/2017/09/07/us/florida-irma-hurricane-supplies.html, 2017, accessed on 07/07/2023</a:t>
            </a:r>
          </a:p>
          <a:p>
            <a:pPr algn="l"/>
            <a:r>
              <a:rPr lang="en-US" sz="1100" b="0" dirty="0"/>
              <a:t>[4] Alan </a:t>
            </a:r>
            <a:r>
              <a:rPr lang="en-US" sz="1100" b="0" dirty="0" err="1"/>
              <a:t>Mislove</a:t>
            </a:r>
            <a:r>
              <a:rPr lang="en-US" sz="1100" b="0" dirty="0"/>
              <a:t> et al. “Measurement and analysis of online social networks”. In: Proceedings of the 7thACM SIGCOMM conference on Internet measurement. 2007, pp. 29–42.</a:t>
            </a:r>
          </a:p>
          <a:p>
            <a:pPr algn="l"/>
            <a:r>
              <a:rPr lang="en-US" sz="1100" b="0" dirty="0"/>
              <a:t>[5] Marcella </a:t>
            </a:r>
            <a:r>
              <a:rPr lang="en-US" sz="1100" b="0" dirty="0" err="1"/>
              <a:t>Tambuscio</a:t>
            </a:r>
            <a:r>
              <a:rPr lang="en-US" sz="1100" b="0" dirty="0"/>
              <a:t> et al. “Fact-checking effect on viral hoaxes: A model of misinformation spreading social networks”. In: Proceedings of the 24th international conference on World Wide Web. 2015,pp. 977–982.</a:t>
            </a:r>
            <a:endParaRPr lang="de-DE" sz="1100" b="0" dirty="0"/>
          </a:p>
        </p:txBody>
      </p:sp>
    </p:spTree>
    <p:extLst>
      <p:ext uri="{BB962C8B-B14F-4D97-AF65-F5344CB8AC3E}">
        <p14:creationId xmlns:p14="http://schemas.microsoft.com/office/powerpoint/2010/main" val="244373016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219042D-D10F-65B9-7E07-2A8582B8C13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8367" y="488950"/>
            <a:ext cx="8856156" cy="838200"/>
          </a:xfrm>
        </p:spPr>
        <p:txBody>
          <a:bodyPr wrap="square" anchor="ctr">
            <a:normAutofit/>
          </a:bodyPr>
          <a:lstStyle/>
          <a:p>
            <a:r>
              <a:rPr lang="en-US" dirty="0"/>
              <a:t>Information can be a powerful tool to change human behavior</a:t>
            </a:r>
          </a:p>
        </p:txBody>
      </p:sp>
      <p:pic>
        <p:nvPicPr>
          <p:cNvPr id="9" name="Inhaltsplatzhalter 8">
            <a:extLst>
              <a:ext uri="{FF2B5EF4-FFF2-40B4-BE49-F238E27FC236}">
                <a16:creationId xmlns:a16="http://schemas.microsoft.com/office/drawing/2014/main" id="{AE5A1022-EAB9-03C1-F65A-25CCC6C1968E}"/>
              </a:ext>
            </a:extLst>
          </p:cNvPr>
          <p:cNvPicPr>
            <a:picLocks noGrp="1" noChangeAspect="1"/>
          </p:cNvPicPr>
          <p:nvPr>
            <p:ph sz="half"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7537" y="1707190"/>
            <a:ext cx="7806655" cy="4391243"/>
          </a:xfrm>
        </p:spPr>
      </p:pic>
      <p:sp>
        <p:nvSpPr>
          <p:cNvPr id="10" name="Rechteck: abgerundete Ecken 9">
            <a:extLst>
              <a:ext uri="{FF2B5EF4-FFF2-40B4-BE49-F238E27FC236}">
                <a16:creationId xmlns:a16="http://schemas.microsoft.com/office/drawing/2014/main" id="{EFFC95D3-DCE9-4AA3-011E-5FF272B4D781}"/>
              </a:ext>
            </a:extLst>
          </p:cNvPr>
          <p:cNvSpPr/>
          <p:nvPr/>
        </p:nvSpPr>
        <p:spPr>
          <a:xfrm>
            <a:off x="7896200" y="1673924"/>
            <a:ext cx="3888432" cy="4608512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000">
              <a:spcBef>
                <a:spcPts val="200"/>
              </a:spcBef>
              <a:spcAft>
                <a:spcPts val="230"/>
              </a:spcAft>
            </a:pPr>
            <a:endParaRPr lang="en-US" sz="1800" b="0" dirty="0"/>
          </a:p>
          <a:p>
            <a:pPr marL="180000">
              <a:spcBef>
                <a:spcPts val="200"/>
              </a:spcBef>
              <a:spcAft>
                <a:spcPts val="230"/>
              </a:spcAft>
            </a:pPr>
            <a:r>
              <a:rPr lang="en-US" sz="1800" b="1" dirty="0"/>
              <a:t>Panic Buying</a:t>
            </a:r>
            <a:r>
              <a:rPr lang="en-US" sz="1800" b="0" dirty="0"/>
              <a:t>: When consumers buy unusually large amounts of a product because of an unusual situation</a:t>
            </a:r>
          </a:p>
          <a:p>
            <a:pPr marL="180000">
              <a:spcBef>
                <a:spcPts val="200"/>
              </a:spcBef>
              <a:spcAft>
                <a:spcPts val="230"/>
              </a:spcAft>
            </a:pPr>
            <a:endParaRPr lang="en-US" dirty="0"/>
          </a:p>
          <a:p>
            <a:pPr marL="180000">
              <a:spcBef>
                <a:spcPts val="200"/>
              </a:spcBef>
              <a:spcAft>
                <a:spcPts val="230"/>
              </a:spcAft>
            </a:pPr>
            <a:r>
              <a:rPr lang="en-US" sz="1800" b="1" dirty="0"/>
              <a:t>During the COVID-19 Pandemic</a:t>
            </a:r>
            <a:r>
              <a:rPr lang="en-US" sz="1800" b="0" dirty="0"/>
              <a:t>: People bought much greater number of Disinfectants and Soap in fear of the infectious disease. At the start of the lockdowns, the sales of Toilet </a:t>
            </a:r>
            <a:r>
              <a:rPr lang="en-US" dirty="0"/>
              <a:t>P</a:t>
            </a:r>
            <a:r>
              <a:rPr lang="en-US" sz="1800" b="0" dirty="0"/>
              <a:t>aper and Yeast increased greatly</a:t>
            </a:r>
            <a:endParaRPr lang="de-DE" sz="1800" b="0" dirty="0"/>
          </a:p>
          <a:p>
            <a:pPr marL="285750" indent="-285750">
              <a:buFont typeface="Wingdings" panose="05000000000000000000" pitchFamily="2" charset="2"/>
              <a:buChar char="è"/>
            </a:pPr>
            <a:endParaRPr lang="de-DE" sz="1800" b="0" dirty="0"/>
          </a:p>
        </p:txBody>
      </p:sp>
    </p:spTree>
    <p:extLst>
      <p:ext uri="{BB962C8B-B14F-4D97-AF65-F5344CB8AC3E}">
        <p14:creationId xmlns:p14="http://schemas.microsoft.com/office/powerpoint/2010/main" val="371950570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4F81F70-C750-3921-7209-BF0F4B0B7A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Panic </a:t>
            </a:r>
            <a:r>
              <a:rPr lang="de-DE" dirty="0" err="1"/>
              <a:t>Buying</a:t>
            </a:r>
            <a:r>
              <a:rPr lang="de-DE" dirty="0"/>
              <a:t> </a:t>
            </a:r>
            <a:r>
              <a:rPr lang="de-DE" dirty="0" err="1"/>
              <a:t>occured</a:t>
            </a:r>
            <a:r>
              <a:rPr lang="de-DE" dirty="0"/>
              <a:t> </a:t>
            </a:r>
            <a:r>
              <a:rPr lang="de-DE" dirty="0" err="1"/>
              <a:t>before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Pandemic</a:t>
            </a:r>
            <a:r>
              <a:rPr lang="de-DE" dirty="0"/>
              <a:t>, </a:t>
            </a:r>
            <a:r>
              <a:rPr lang="de-DE" dirty="0" err="1"/>
              <a:t>too</a:t>
            </a:r>
            <a:endParaRPr lang="de-DE" dirty="0"/>
          </a:p>
        </p:txBody>
      </p:sp>
      <p:sp>
        <p:nvSpPr>
          <p:cNvPr id="5" name="Rechteck: abgerundete Ecken 4">
            <a:extLst>
              <a:ext uri="{FF2B5EF4-FFF2-40B4-BE49-F238E27FC236}">
                <a16:creationId xmlns:a16="http://schemas.microsoft.com/office/drawing/2014/main" id="{EA511780-A349-261B-96CE-B2ED2283CD37}"/>
              </a:ext>
            </a:extLst>
          </p:cNvPr>
          <p:cNvSpPr/>
          <p:nvPr/>
        </p:nvSpPr>
        <p:spPr>
          <a:xfrm>
            <a:off x="478367" y="1700808"/>
            <a:ext cx="11162249" cy="2088232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200"/>
              </a:spcBef>
              <a:spcAft>
                <a:spcPts val="230"/>
              </a:spcAft>
            </a:pPr>
            <a:r>
              <a:rPr lang="de-DE" sz="1800" b="0" dirty="0"/>
              <a:t>Other </a:t>
            </a:r>
            <a:r>
              <a:rPr lang="de-DE" sz="1800" b="0" dirty="0" err="1"/>
              <a:t>Instances</a:t>
            </a:r>
            <a:r>
              <a:rPr lang="de-DE" sz="1800" b="0" dirty="0"/>
              <a:t> </a:t>
            </a:r>
            <a:r>
              <a:rPr lang="de-DE" sz="1800" b="0" dirty="0" err="1"/>
              <a:t>of</a:t>
            </a:r>
            <a:r>
              <a:rPr lang="de-DE" sz="1800" b="0" dirty="0"/>
              <a:t> Panic </a:t>
            </a:r>
            <a:r>
              <a:rPr lang="de-DE" sz="1800" b="0" dirty="0" err="1"/>
              <a:t>Buying</a:t>
            </a:r>
            <a:r>
              <a:rPr lang="de-DE" sz="1800" b="0" dirty="0"/>
              <a:t> </a:t>
            </a:r>
            <a:r>
              <a:rPr lang="de-DE" sz="1800" b="0" dirty="0" err="1"/>
              <a:t>Behavior</a:t>
            </a:r>
            <a:r>
              <a:rPr lang="de-DE" sz="1800" b="0" dirty="0"/>
              <a:t>:</a:t>
            </a:r>
          </a:p>
          <a:p>
            <a:pPr marL="522900" indent="-342900">
              <a:spcBef>
                <a:spcPts val="200"/>
              </a:spcBef>
              <a:spcAft>
                <a:spcPts val="230"/>
              </a:spcAft>
              <a:buFont typeface="Arial" panose="020B0604020202020204" pitchFamily="34" charset="0"/>
              <a:buChar char="•"/>
            </a:pPr>
            <a:r>
              <a:rPr lang="de-DE" sz="1800" b="0" dirty="0"/>
              <a:t>The </a:t>
            </a:r>
            <a:r>
              <a:rPr lang="de-DE" sz="1800" b="0" dirty="0" err="1"/>
              <a:t>Spanish</a:t>
            </a:r>
            <a:r>
              <a:rPr lang="de-DE" sz="1800" b="0" dirty="0"/>
              <a:t> Flu,1918: </a:t>
            </a:r>
            <a:r>
              <a:rPr lang="en-US" sz="1800" b="0" dirty="0"/>
              <a:t>rush to buy quinine and other medications [1]</a:t>
            </a:r>
          </a:p>
          <a:p>
            <a:pPr marL="522900" indent="-342900">
              <a:spcBef>
                <a:spcPts val="200"/>
              </a:spcBef>
              <a:spcAft>
                <a:spcPts val="230"/>
              </a:spcAft>
              <a:buFont typeface="Arial" panose="020B0604020202020204" pitchFamily="34" charset="0"/>
              <a:buChar char="•"/>
            </a:pPr>
            <a:r>
              <a:rPr lang="en-US" sz="1800" b="0" dirty="0"/>
              <a:t>Cuban Missile Crisis, 1962: increased demand for canned foods [2]</a:t>
            </a:r>
          </a:p>
          <a:p>
            <a:pPr marL="522900" indent="-342900">
              <a:spcBef>
                <a:spcPts val="200"/>
              </a:spcBef>
              <a:spcAft>
                <a:spcPts val="230"/>
              </a:spcAft>
              <a:buFont typeface="Arial" panose="020B0604020202020204" pitchFamily="34" charset="0"/>
              <a:buChar char="•"/>
            </a:pPr>
            <a:r>
              <a:rPr lang="en-US" sz="1800" b="0" dirty="0"/>
              <a:t>Hurricane Irma, 2017: panic buying of fuel, bottled water and other essential goods [3]</a:t>
            </a:r>
          </a:p>
          <a:p>
            <a:pPr marL="285750" indent="-285750">
              <a:spcBef>
                <a:spcPts val="200"/>
              </a:spcBef>
              <a:spcAft>
                <a:spcPts val="230"/>
              </a:spcAft>
              <a:buFont typeface="Wingdings" panose="05000000000000000000" pitchFamily="2" charset="2"/>
              <a:buChar char="è"/>
            </a:pPr>
            <a:r>
              <a:rPr lang="en-US" sz="1800" b="0" dirty="0">
                <a:sym typeface="Wingdings" panose="05000000000000000000" pitchFamily="2" charset="2"/>
              </a:rPr>
              <a:t>Panic Buying is an issue that already exists for a long time !</a:t>
            </a:r>
            <a:endParaRPr lang="de-DE" sz="1800" b="0" dirty="0"/>
          </a:p>
        </p:txBody>
      </p:sp>
      <p:sp>
        <p:nvSpPr>
          <p:cNvPr id="8" name="Rechteck: abgerundete Ecken 7">
            <a:extLst>
              <a:ext uri="{FF2B5EF4-FFF2-40B4-BE49-F238E27FC236}">
                <a16:creationId xmlns:a16="http://schemas.microsoft.com/office/drawing/2014/main" id="{B9ADDA1F-87A6-FFFF-7CB8-B078E4FD0B17}"/>
              </a:ext>
            </a:extLst>
          </p:cNvPr>
          <p:cNvSpPr/>
          <p:nvPr/>
        </p:nvSpPr>
        <p:spPr>
          <a:xfrm>
            <a:off x="478366" y="4653136"/>
            <a:ext cx="11162249" cy="72008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2800" b="1" dirty="0" err="1"/>
              <a:t>How</a:t>
            </a:r>
            <a:r>
              <a:rPr lang="de-DE" sz="2800" b="1" dirty="0"/>
              <a:t> </a:t>
            </a:r>
            <a:r>
              <a:rPr lang="de-DE" sz="2800" b="1" dirty="0" err="1"/>
              <a:t>would</a:t>
            </a:r>
            <a:r>
              <a:rPr lang="de-DE" sz="2800" b="1" dirty="0"/>
              <a:t> Panic </a:t>
            </a:r>
            <a:r>
              <a:rPr lang="de-DE" sz="2800" b="1" dirty="0" err="1"/>
              <a:t>Buying</a:t>
            </a:r>
            <a:r>
              <a:rPr lang="de-DE" sz="2800" b="1" dirty="0"/>
              <a:t> </a:t>
            </a:r>
            <a:r>
              <a:rPr lang="de-DE" sz="2800" b="1" dirty="0" err="1"/>
              <a:t>Behavior</a:t>
            </a:r>
            <a:r>
              <a:rPr lang="de-DE" sz="2800" b="1" dirty="0"/>
              <a:t> </a:t>
            </a:r>
            <a:r>
              <a:rPr lang="de-DE" sz="2800" b="1" dirty="0" err="1"/>
              <a:t>affect</a:t>
            </a:r>
            <a:r>
              <a:rPr lang="de-DE" sz="2800" b="1" dirty="0"/>
              <a:t> </a:t>
            </a:r>
            <a:r>
              <a:rPr lang="de-DE" sz="2800" b="1" dirty="0" err="1"/>
              <a:t>the</a:t>
            </a:r>
            <a:r>
              <a:rPr lang="de-DE" sz="2800" b="1" dirty="0"/>
              <a:t> Power </a:t>
            </a:r>
            <a:r>
              <a:rPr lang="de-DE" sz="2800" b="1" dirty="0" err="1"/>
              <a:t>Grid</a:t>
            </a:r>
            <a:r>
              <a:rPr lang="de-DE" sz="2800" b="1" dirty="0"/>
              <a:t>?</a:t>
            </a:r>
          </a:p>
        </p:txBody>
      </p:sp>
      <p:sp>
        <p:nvSpPr>
          <p:cNvPr id="9" name="Pfeil: nach unten 8">
            <a:extLst>
              <a:ext uri="{FF2B5EF4-FFF2-40B4-BE49-F238E27FC236}">
                <a16:creationId xmlns:a16="http://schemas.microsoft.com/office/drawing/2014/main" id="{BDEA0C18-DCA2-717E-6161-DEDE36AA015B}"/>
              </a:ext>
            </a:extLst>
          </p:cNvPr>
          <p:cNvSpPr/>
          <p:nvPr/>
        </p:nvSpPr>
        <p:spPr>
          <a:xfrm>
            <a:off x="5519936" y="3861048"/>
            <a:ext cx="1080120" cy="648072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9126321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AF09439-EB36-1305-C4E3-DE20F45DDED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 </a:t>
            </a:r>
            <a:r>
              <a:rPr lang="de-DE" dirty="0" err="1"/>
              <a:t>few</a:t>
            </a:r>
            <a:r>
              <a:rPr lang="de-DE" dirty="0"/>
              <a:t> </a:t>
            </a:r>
            <a:r>
              <a:rPr lang="de-DE" dirty="0" err="1"/>
              <a:t>example</a:t>
            </a:r>
            <a:r>
              <a:rPr lang="de-DE" dirty="0"/>
              <a:t> Scenarios </a:t>
            </a:r>
            <a:r>
              <a:rPr lang="de-DE" dirty="0" err="1"/>
              <a:t>for</a:t>
            </a:r>
            <a:r>
              <a:rPr lang="de-DE" dirty="0"/>
              <a:t> Panic </a:t>
            </a:r>
            <a:r>
              <a:rPr lang="de-DE" dirty="0" err="1"/>
              <a:t>Buying</a:t>
            </a:r>
            <a:r>
              <a:rPr lang="de-DE" dirty="0"/>
              <a:t> </a:t>
            </a:r>
            <a:r>
              <a:rPr lang="de-DE" dirty="0" err="1"/>
              <a:t>Behavior</a:t>
            </a:r>
            <a:r>
              <a:rPr lang="de-DE" dirty="0"/>
              <a:t> </a:t>
            </a:r>
            <a:r>
              <a:rPr lang="de-DE" dirty="0" err="1"/>
              <a:t>affecting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Power </a:t>
            </a:r>
            <a:r>
              <a:rPr lang="de-DE" dirty="0" err="1"/>
              <a:t>Grid</a:t>
            </a:r>
            <a:endParaRPr lang="de-DE" dirty="0"/>
          </a:p>
        </p:txBody>
      </p:sp>
      <p:sp>
        <p:nvSpPr>
          <p:cNvPr id="5" name="Rechteck: abgerundete Ecken 4">
            <a:extLst>
              <a:ext uri="{FF2B5EF4-FFF2-40B4-BE49-F238E27FC236}">
                <a16:creationId xmlns:a16="http://schemas.microsoft.com/office/drawing/2014/main" id="{BB784F85-7EEE-FD9E-EF0B-6BE96FE99AE0}"/>
              </a:ext>
            </a:extLst>
          </p:cNvPr>
          <p:cNvSpPr/>
          <p:nvPr/>
        </p:nvSpPr>
        <p:spPr>
          <a:xfrm>
            <a:off x="407368" y="1673924"/>
            <a:ext cx="5328592" cy="3483268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000">
              <a:spcBef>
                <a:spcPts val="200"/>
              </a:spcBef>
              <a:spcAft>
                <a:spcPts val="230"/>
              </a:spcAft>
            </a:pPr>
            <a:endParaRPr lang="en-US" sz="1800" b="0" dirty="0"/>
          </a:p>
          <a:p>
            <a:pPr marL="180000">
              <a:spcBef>
                <a:spcPts val="200"/>
              </a:spcBef>
              <a:spcAft>
                <a:spcPts val="230"/>
              </a:spcAft>
            </a:pPr>
            <a:r>
              <a:rPr lang="en-US" sz="1800" b="1" dirty="0"/>
              <a:t>Demand Response Scenario: </a:t>
            </a:r>
          </a:p>
          <a:p>
            <a:pPr marL="180000">
              <a:spcBef>
                <a:spcPts val="200"/>
              </a:spcBef>
              <a:spcAft>
                <a:spcPts val="230"/>
              </a:spcAft>
            </a:pPr>
            <a:endParaRPr lang="en-US" dirty="0"/>
          </a:p>
          <a:p>
            <a:pPr marL="180000">
              <a:spcBef>
                <a:spcPts val="200"/>
              </a:spcBef>
              <a:spcAft>
                <a:spcPts val="230"/>
              </a:spcAft>
            </a:pPr>
            <a:r>
              <a:rPr lang="en-US" sz="1800" b="0" dirty="0"/>
              <a:t>A false advertisement for reduced electricity price for a limited time </a:t>
            </a:r>
            <a:r>
              <a:rPr lang="en-US" dirty="0"/>
              <a:t>spreads through social media</a:t>
            </a:r>
            <a:endParaRPr lang="de-DE" sz="1800" b="0" dirty="0"/>
          </a:p>
          <a:p>
            <a:pPr marL="285750" indent="-285750">
              <a:buFont typeface="Wingdings" panose="05000000000000000000" pitchFamily="2" charset="2"/>
              <a:buChar char="è"/>
            </a:pPr>
            <a:endParaRPr lang="de-DE" dirty="0"/>
          </a:p>
          <a:p>
            <a:pPr marL="285750" indent="-285750">
              <a:buFont typeface="Wingdings" panose="05000000000000000000" pitchFamily="2" charset="2"/>
              <a:buChar char="è"/>
            </a:pPr>
            <a:endParaRPr lang="de-DE" dirty="0"/>
          </a:p>
          <a:p>
            <a:pPr marL="285750" indent="-285750">
              <a:buFont typeface="Wingdings" panose="05000000000000000000" pitchFamily="2" charset="2"/>
              <a:buChar char="è"/>
            </a:pPr>
            <a:endParaRPr lang="de-DE" sz="1800" b="0" dirty="0"/>
          </a:p>
          <a:p>
            <a:pPr marL="285750" indent="-285750">
              <a:buFont typeface="Wingdings" panose="05000000000000000000" pitchFamily="2" charset="2"/>
              <a:buChar char="è"/>
            </a:pPr>
            <a:endParaRPr lang="de-DE" sz="1800" b="0" dirty="0"/>
          </a:p>
        </p:txBody>
      </p:sp>
      <p:sp>
        <p:nvSpPr>
          <p:cNvPr id="6" name="Rechteck: abgerundete Ecken 5">
            <a:extLst>
              <a:ext uri="{FF2B5EF4-FFF2-40B4-BE49-F238E27FC236}">
                <a16:creationId xmlns:a16="http://schemas.microsoft.com/office/drawing/2014/main" id="{86C34D08-68E8-DA09-5D37-487A27421388}"/>
              </a:ext>
            </a:extLst>
          </p:cNvPr>
          <p:cNvSpPr/>
          <p:nvPr/>
        </p:nvSpPr>
        <p:spPr>
          <a:xfrm>
            <a:off x="6119394" y="1673924"/>
            <a:ext cx="5328592" cy="3483268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000">
              <a:spcBef>
                <a:spcPts val="200"/>
              </a:spcBef>
              <a:spcAft>
                <a:spcPts val="230"/>
              </a:spcAft>
            </a:pPr>
            <a:endParaRPr lang="en-US" sz="1800" b="0" dirty="0"/>
          </a:p>
          <a:p>
            <a:pPr marL="180000">
              <a:spcBef>
                <a:spcPts val="200"/>
              </a:spcBef>
              <a:spcAft>
                <a:spcPts val="230"/>
              </a:spcAft>
            </a:pPr>
            <a:r>
              <a:rPr lang="en-US" sz="1800" b="1" dirty="0"/>
              <a:t>“Disconnect” Scenario:</a:t>
            </a:r>
          </a:p>
          <a:p>
            <a:pPr marL="180000">
              <a:spcBef>
                <a:spcPts val="200"/>
              </a:spcBef>
              <a:spcAft>
                <a:spcPts val="230"/>
              </a:spcAft>
            </a:pPr>
            <a:endParaRPr lang="en-US" sz="1800" b="0" dirty="0"/>
          </a:p>
          <a:p>
            <a:pPr marL="180000">
              <a:spcBef>
                <a:spcPts val="200"/>
              </a:spcBef>
              <a:spcAft>
                <a:spcPts val="230"/>
              </a:spcAft>
            </a:pPr>
            <a:r>
              <a:rPr lang="en-US" sz="1800" b="0" dirty="0"/>
              <a:t>Conspiracy theorists want to send a signal to the politicians by disconnecting all electrical appliances by a specified time</a:t>
            </a:r>
            <a:endParaRPr lang="de-DE" sz="1800" b="0" dirty="0"/>
          </a:p>
          <a:p>
            <a:pPr marL="285750" indent="-285750">
              <a:buFont typeface="Wingdings" panose="05000000000000000000" pitchFamily="2" charset="2"/>
              <a:buChar char="è"/>
            </a:pPr>
            <a:endParaRPr lang="de-DE" dirty="0"/>
          </a:p>
          <a:p>
            <a:pPr marL="285750" indent="-285750">
              <a:buFont typeface="Wingdings" panose="05000000000000000000" pitchFamily="2" charset="2"/>
              <a:buChar char="è"/>
            </a:pPr>
            <a:endParaRPr lang="de-DE" dirty="0"/>
          </a:p>
          <a:p>
            <a:pPr marL="285750" indent="-285750">
              <a:buFont typeface="Wingdings" panose="05000000000000000000" pitchFamily="2" charset="2"/>
              <a:buChar char="è"/>
            </a:pPr>
            <a:endParaRPr lang="de-DE" sz="1800" b="0" dirty="0"/>
          </a:p>
          <a:p>
            <a:pPr marL="285750" indent="-285750">
              <a:buFont typeface="Wingdings" panose="05000000000000000000" pitchFamily="2" charset="2"/>
              <a:buChar char="è"/>
            </a:pPr>
            <a:endParaRPr lang="de-DE" sz="1800" b="0" dirty="0"/>
          </a:p>
        </p:txBody>
      </p:sp>
      <p:sp>
        <p:nvSpPr>
          <p:cNvPr id="7" name="Rechteck: abgerundete Ecken 6">
            <a:extLst>
              <a:ext uri="{FF2B5EF4-FFF2-40B4-BE49-F238E27FC236}">
                <a16:creationId xmlns:a16="http://schemas.microsoft.com/office/drawing/2014/main" id="{F0E96177-E08D-49E2-7D19-8146A4915A2F}"/>
              </a:ext>
            </a:extLst>
          </p:cNvPr>
          <p:cNvSpPr/>
          <p:nvPr/>
        </p:nvSpPr>
        <p:spPr>
          <a:xfrm>
            <a:off x="407368" y="5445224"/>
            <a:ext cx="11040618" cy="923826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2400" b="1" dirty="0"/>
              <a:t>But: other scenarios could be imagined ….</a:t>
            </a:r>
            <a:endParaRPr lang="de-DE" sz="2400" b="1" dirty="0"/>
          </a:p>
        </p:txBody>
      </p:sp>
    </p:spTree>
    <p:extLst>
      <p:ext uri="{BB962C8B-B14F-4D97-AF65-F5344CB8AC3E}">
        <p14:creationId xmlns:p14="http://schemas.microsoft.com/office/powerpoint/2010/main" val="295461033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82BDD1A-935E-37AF-0C22-F1B163168C8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dea: </a:t>
            </a:r>
            <a:r>
              <a:rPr lang="en-US" dirty="0" err="1"/>
              <a:t>Analyse</a:t>
            </a:r>
            <a:r>
              <a:rPr lang="en-US" dirty="0"/>
              <a:t> the Information Flow in Social Networks and check if it could affect the Power Grid</a:t>
            </a:r>
          </a:p>
        </p:txBody>
      </p:sp>
      <p:sp>
        <p:nvSpPr>
          <p:cNvPr id="4" name="Rechteck: abgerundete Ecken 3">
            <a:extLst>
              <a:ext uri="{FF2B5EF4-FFF2-40B4-BE49-F238E27FC236}">
                <a16:creationId xmlns:a16="http://schemas.microsoft.com/office/drawing/2014/main" id="{010AAE69-6886-6A69-4679-A6FE5BA71844}"/>
              </a:ext>
            </a:extLst>
          </p:cNvPr>
          <p:cNvSpPr/>
          <p:nvPr/>
        </p:nvSpPr>
        <p:spPr>
          <a:xfrm>
            <a:off x="305587" y="1544514"/>
            <a:ext cx="3558165" cy="4824536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dirty="0"/>
              <a:t>Create Social Media Graph</a:t>
            </a:r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FA79EB93-8530-8A99-6D9F-902E085E084D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l="32871" r="32870"/>
          <a:stretch/>
        </p:blipFill>
        <p:spPr>
          <a:xfrm>
            <a:off x="461395" y="2492896"/>
            <a:ext cx="3352285" cy="3399631"/>
          </a:xfrm>
          <a:prstGeom prst="rect">
            <a:avLst/>
          </a:prstGeom>
        </p:spPr>
      </p:pic>
      <p:sp>
        <p:nvSpPr>
          <p:cNvPr id="9" name="Rechteck: abgerundete Ecken 8">
            <a:extLst>
              <a:ext uri="{FF2B5EF4-FFF2-40B4-BE49-F238E27FC236}">
                <a16:creationId xmlns:a16="http://schemas.microsoft.com/office/drawing/2014/main" id="{992AD926-08B6-8807-B84E-DF16E1F5AA44}"/>
              </a:ext>
            </a:extLst>
          </p:cNvPr>
          <p:cNvSpPr/>
          <p:nvPr/>
        </p:nvSpPr>
        <p:spPr>
          <a:xfrm>
            <a:off x="4299895" y="1545109"/>
            <a:ext cx="3558165" cy="4824536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dirty="0"/>
              <a:t>Model </a:t>
            </a:r>
            <a:r>
              <a:rPr lang="de-DE" dirty="0" err="1"/>
              <a:t>the</a:t>
            </a:r>
            <a:r>
              <a:rPr lang="de-DE" dirty="0"/>
              <a:t> Information Diffusion</a:t>
            </a:r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</p:txBody>
      </p:sp>
      <p:sp>
        <p:nvSpPr>
          <p:cNvPr id="10" name="Rechteck: abgerundete Ecken 9">
            <a:extLst>
              <a:ext uri="{FF2B5EF4-FFF2-40B4-BE49-F238E27FC236}">
                <a16:creationId xmlns:a16="http://schemas.microsoft.com/office/drawing/2014/main" id="{02E600BE-E8BF-A2D7-0E0C-3A3A132ECA51}"/>
              </a:ext>
            </a:extLst>
          </p:cNvPr>
          <p:cNvSpPr/>
          <p:nvPr/>
        </p:nvSpPr>
        <p:spPr>
          <a:xfrm>
            <a:off x="8311076" y="1544514"/>
            <a:ext cx="3558165" cy="4824536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dirty="0"/>
              <a:t>Estimate the excess Power Demand</a:t>
            </a:r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</p:txBody>
      </p:sp>
      <p:sp>
        <p:nvSpPr>
          <p:cNvPr id="11" name="Pfeil: nach rechts 10">
            <a:extLst>
              <a:ext uri="{FF2B5EF4-FFF2-40B4-BE49-F238E27FC236}">
                <a16:creationId xmlns:a16="http://schemas.microsoft.com/office/drawing/2014/main" id="{3557A4AA-52AD-2013-6F04-A7B949C11C36}"/>
              </a:ext>
            </a:extLst>
          </p:cNvPr>
          <p:cNvSpPr/>
          <p:nvPr/>
        </p:nvSpPr>
        <p:spPr>
          <a:xfrm>
            <a:off x="3900262" y="3549892"/>
            <a:ext cx="360040" cy="360040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/>
          </a:p>
        </p:txBody>
      </p:sp>
      <p:sp>
        <p:nvSpPr>
          <p:cNvPr id="12" name="Pfeil: nach rechts 11">
            <a:extLst>
              <a:ext uri="{FF2B5EF4-FFF2-40B4-BE49-F238E27FC236}">
                <a16:creationId xmlns:a16="http://schemas.microsoft.com/office/drawing/2014/main" id="{E22B3B39-7001-DA95-21A1-DF46C34825FA}"/>
              </a:ext>
            </a:extLst>
          </p:cNvPr>
          <p:cNvSpPr/>
          <p:nvPr/>
        </p:nvSpPr>
        <p:spPr>
          <a:xfrm>
            <a:off x="7904548" y="3549892"/>
            <a:ext cx="360040" cy="360040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/>
          </a:p>
        </p:txBody>
      </p:sp>
      <p:pic>
        <p:nvPicPr>
          <p:cNvPr id="14" name="Grafik 13">
            <a:extLst>
              <a:ext uri="{FF2B5EF4-FFF2-40B4-BE49-F238E27FC236}">
                <a16:creationId xmlns:a16="http://schemas.microsoft.com/office/drawing/2014/main" id="{71C0AA65-95E4-EC30-3C3F-D3C11206E37D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 l="36297" r="31728"/>
          <a:stretch/>
        </p:blipFill>
        <p:spPr>
          <a:xfrm>
            <a:off x="4682720" y="2363241"/>
            <a:ext cx="2925448" cy="3385982"/>
          </a:xfrm>
          <a:prstGeom prst="rect">
            <a:avLst/>
          </a:prstGeom>
        </p:spPr>
      </p:pic>
      <p:pic>
        <p:nvPicPr>
          <p:cNvPr id="16" name="Grafik 15">
            <a:extLst>
              <a:ext uri="{FF2B5EF4-FFF2-40B4-BE49-F238E27FC236}">
                <a16:creationId xmlns:a16="http://schemas.microsoft.com/office/drawing/2014/main" id="{A4171022-80BD-3A61-A6D2-1C4C5F136498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 r="7440"/>
          <a:stretch/>
        </p:blipFill>
        <p:spPr>
          <a:xfrm>
            <a:off x="8400256" y="2564905"/>
            <a:ext cx="3354910" cy="27214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4360972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hteck: abgerundete Ecken 13">
            <a:extLst>
              <a:ext uri="{FF2B5EF4-FFF2-40B4-BE49-F238E27FC236}">
                <a16:creationId xmlns:a16="http://schemas.microsoft.com/office/drawing/2014/main" id="{0B5B699D-3782-CF2B-08D4-A50842C085E0}"/>
              </a:ext>
            </a:extLst>
          </p:cNvPr>
          <p:cNvSpPr/>
          <p:nvPr/>
        </p:nvSpPr>
        <p:spPr>
          <a:xfrm>
            <a:off x="9630436" y="3163493"/>
            <a:ext cx="2088232" cy="1395109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</p:txBody>
      </p:sp>
      <p:sp>
        <p:nvSpPr>
          <p:cNvPr id="13" name="Rechteck: abgerundete Ecken 12">
            <a:extLst>
              <a:ext uri="{FF2B5EF4-FFF2-40B4-BE49-F238E27FC236}">
                <a16:creationId xmlns:a16="http://schemas.microsoft.com/office/drawing/2014/main" id="{EBCB117B-982F-E7E2-E558-EA386DD78E33}"/>
              </a:ext>
            </a:extLst>
          </p:cNvPr>
          <p:cNvSpPr/>
          <p:nvPr/>
        </p:nvSpPr>
        <p:spPr>
          <a:xfrm>
            <a:off x="9657481" y="4832918"/>
            <a:ext cx="2088232" cy="1395109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EA4B4C9-659F-B062-0F31-F8A5EA5EFC2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Social Media Graph is created via Random Graph Algorithms</a:t>
            </a:r>
          </a:p>
        </p:txBody>
      </p:sp>
      <p:sp>
        <p:nvSpPr>
          <p:cNvPr id="4" name="Rechteck: abgerundete Ecken 3">
            <a:extLst>
              <a:ext uri="{FF2B5EF4-FFF2-40B4-BE49-F238E27FC236}">
                <a16:creationId xmlns:a16="http://schemas.microsoft.com/office/drawing/2014/main" id="{BD35C341-86A0-4B4B-FADC-5EF35296651E}"/>
              </a:ext>
            </a:extLst>
          </p:cNvPr>
          <p:cNvSpPr/>
          <p:nvPr/>
        </p:nvSpPr>
        <p:spPr>
          <a:xfrm>
            <a:off x="9639019" y="1526055"/>
            <a:ext cx="2088232" cy="1395109"/>
          </a:xfrm>
          <a:prstGeom prst="round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0D88AB39-8127-EF9A-4374-B17E792AAE7B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l="32871" r="32870"/>
          <a:stretch/>
        </p:blipFill>
        <p:spPr>
          <a:xfrm>
            <a:off x="10083736" y="1546537"/>
            <a:ext cx="1355483" cy="1374627"/>
          </a:xfrm>
          <a:prstGeom prst="rect">
            <a:avLst/>
          </a:prstGeom>
        </p:spPr>
      </p:pic>
      <p:pic>
        <p:nvPicPr>
          <p:cNvPr id="10" name="Grafik 9">
            <a:extLst>
              <a:ext uri="{FF2B5EF4-FFF2-40B4-BE49-F238E27FC236}">
                <a16:creationId xmlns:a16="http://schemas.microsoft.com/office/drawing/2014/main" id="{77BB8D94-962D-867D-C79E-194C063FAF18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 l="36297" r="31728"/>
          <a:stretch/>
        </p:blipFill>
        <p:spPr>
          <a:xfrm>
            <a:off x="10142037" y="3143743"/>
            <a:ext cx="1320290" cy="1528135"/>
          </a:xfrm>
          <a:prstGeom prst="rect">
            <a:avLst/>
          </a:prstGeom>
        </p:spPr>
      </p:pic>
      <p:sp>
        <p:nvSpPr>
          <p:cNvPr id="15" name="Pfeil: nach unten 14">
            <a:extLst>
              <a:ext uri="{FF2B5EF4-FFF2-40B4-BE49-F238E27FC236}">
                <a16:creationId xmlns:a16="http://schemas.microsoft.com/office/drawing/2014/main" id="{CEAA200E-3800-ED1C-EC0E-ECA852A2B6E4}"/>
              </a:ext>
            </a:extLst>
          </p:cNvPr>
          <p:cNvSpPr/>
          <p:nvPr/>
        </p:nvSpPr>
        <p:spPr>
          <a:xfrm>
            <a:off x="10638422" y="2981156"/>
            <a:ext cx="144016" cy="138497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/>
          </a:p>
        </p:txBody>
      </p:sp>
      <p:sp>
        <p:nvSpPr>
          <p:cNvPr id="16" name="Pfeil: nach unten 15">
            <a:extLst>
              <a:ext uri="{FF2B5EF4-FFF2-40B4-BE49-F238E27FC236}">
                <a16:creationId xmlns:a16="http://schemas.microsoft.com/office/drawing/2014/main" id="{F2BCEA7B-2E0E-C91C-E1E6-6F8AB9358195}"/>
              </a:ext>
            </a:extLst>
          </p:cNvPr>
          <p:cNvSpPr/>
          <p:nvPr/>
        </p:nvSpPr>
        <p:spPr>
          <a:xfrm>
            <a:off x="10595457" y="4630807"/>
            <a:ext cx="144016" cy="138497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/>
          </a:p>
        </p:txBody>
      </p:sp>
      <p:sp>
        <p:nvSpPr>
          <p:cNvPr id="18" name="Rechteck: abgerundete Ecken 17">
            <a:extLst>
              <a:ext uri="{FF2B5EF4-FFF2-40B4-BE49-F238E27FC236}">
                <a16:creationId xmlns:a16="http://schemas.microsoft.com/office/drawing/2014/main" id="{FAA4862C-BC49-EBC0-36B1-DC7DD94D1D91}"/>
              </a:ext>
            </a:extLst>
          </p:cNvPr>
          <p:cNvSpPr/>
          <p:nvPr/>
        </p:nvSpPr>
        <p:spPr>
          <a:xfrm>
            <a:off x="478368" y="1700808"/>
            <a:ext cx="8856156" cy="4608512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200"/>
              </a:spcBef>
              <a:spcAft>
                <a:spcPts val="230"/>
              </a:spcAft>
            </a:pPr>
            <a:r>
              <a:rPr lang="de-DE" dirty="0"/>
              <a:t>   </a:t>
            </a:r>
            <a:r>
              <a:rPr lang="de-DE" sz="1800" b="0" dirty="0" err="1"/>
              <a:t>Social</a:t>
            </a:r>
            <a:r>
              <a:rPr lang="de-DE" sz="1800" b="0" dirty="0"/>
              <a:t> Media Networks </a:t>
            </a:r>
            <a:r>
              <a:rPr lang="de-DE" sz="1800" b="0" dirty="0" err="1"/>
              <a:t>possess</a:t>
            </a:r>
            <a:r>
              <a:rPr lang="de-DE" sz="1800" b="0" dirty="0"/>
              <a:t> different </a:t>
            </a:r>
            <a:r>
              <a:rPr lang="de-DE" sz="1800" b="0" dirty="0" err="1"/>
              <a:t>characteristics</a:t>
            </a:r>
            <a:r>
              <a:rPr lang="de-DE" sz="1800" b="0" dirty="0"/>
              <a:t> [4]:</a:t>
            </a:r>
          </a:p>
          <a:p>
            <a:pPr marL="522900" indent="-342900">
              <a:spcBef>
                <a:spcPts val="200"/>
              </a:spcBef>
              <a:spcAft>
                <a:spcPts val="230"/>
              </a:spcAft>
              <a:buFont typeface="Arial" panose="020B0604020202020204" pitchFamily="34" charset="0"/>
              <a:buChar char="•"/>
            </a:pPr>
            <a:r>
              <a:rPr lang="de-DE" sz="1800" b="0" dirty="0"/>
              <a:t>Small World </a:t>
            </a:r>
            <a:r>
              <a:rPr lang="de-DE" sz="1800" b="0" dirty="0" err="1"/>
              <a:t>Characteristic</a:t>
            </a:r>
            <a:endParaRPr lang="de-DE" sz="1800" b="0" dirty="0"/>
          </a:p>
          <a:p>
            <a:pPr marL="522900" indent="-342900">
              <a:spcBef>
                <a:spcPts val="200"/>
              </a:spcBef>
              <a:spcAft>
                <a:spcPts val="230"/>
              </a:spcAft>
              <a:buFont typeface="Arial" panose="020B0604020202020204" pitchFamily="34" charset="0"/>
              <a:buChar char="•"/>
            </a:pPr>
            <a:r>
              <a:rPr lang="de-DE" dirty="0" err="1"/>
              <a:t>Scale</a:t>
            </a:r>
            <a:r>
              <a:rPr lang="de-DE" dirty="0"/>
              <a:t>-Free Networks</a:t>
            </a:r>
          </a:p>
          <a:p>
            <a:pPr marL="522900" indent="-342900">
              <a:spcBef>
                <a:spcPts val="200"/>
              </a:spcBef>
              <a:spcAft>
                <a:spcPts val="230"/>
              </a:spcAft>
              <a:buFont typeface="Arial" panose="020B0604020202020204" pitchFamily="34" charset="0"/>
              <a:buChar char="•"/>
            </a:pPr>
            <a:r>
              <a:rPr lang="de-DE" sz="1800" b="0" dirty="0" err="1"/>
              <a:t>Highly</a:t>
            </a:r>
            <a:r>
              <a:rPr lang="de-DE" sz="1800" b="0" dirty="0"/>
              <a:t> </a:t>
            </a:r>
            <a:r>
              <a:rPr lang="de-DE" sz="1800" b="0" dirty="0" err="1"/>
              <a:t>Clustered</a:t>
            </a:r>
            <a:endParaRPr lang="de-DE" dirty="0"/>
          </a:p>
          <a:p>
            <a:pPr marL="180000">
              <a:spcBef>
                <a:spcPts val="200"/>
              </a:spcBef>
              <a:spcAft>
                <a:spcPts val="230"/>
              </a:spcAft>
            </a:pPr>
            <a:endParaRPr lang="de-DE" dirty="0"/>
          </a:p>
          <a:p>
            <a:pPr marL="180000">
              <a:spcBef>
                <a:spcPts val="200"/>
              </a:spcBef>
              <a:spcAft>
                <a:spcPts val="230"/>
              </a:spcAft>
            </a:pPr>
            <a:endParaRPr lang="de-DE" dirty="0"/>
          </a:p>
          <a:p>
            <a:pPr marL="180000">
              <a:spcBef>
                <a:spcPts val="200"/>
              </a:spcBef>
              <a:spcAft>
                <a:spcPts val="230"/>
              </a:spcAft>
            </a:pPr>
            <a:r>
              <a:rPr lang="de-DE" dirty="0"/>
              <a:t>Graph Models </a:t>
            </a:r>
            <a:r>
              <a:rPr lang="de-DE" dirty="0" err="1"/>
              <a:t>that</a:t>
            </a:r>
            <a:r>
              <a:rPr lang="de-DE" dirty="0"/>
              <a:t> </a:t>
            </a:r>
            <a:r>
              <a:rPr lang="de-DE" dirty="0" err="1"/>
              <a:t>could</a:t>
            </a:r>
            <a:r>
              <a:rPr lang="de-DE" dirty="0"/>
              <a:t> </a:t>
            </a:r>
            <a:r>
              <a:rPr lang="de-DE" dirty="0" err="1"/>
              <a:t>be</a:t>
            </a:r>
            <a:r>
              <a:rPr lang="de-DE" dirty="0"/>
              <a:t> </a:t>
            </a:r>
            <a:r>
              <a:rPr lang="de-DE" dirty="0" err="1"/>
              <a:t>used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model</a:t>
            </a:r>
            <a:r>
              <a:rPr lang="de-DE" dirty="0"/>
              <a:t> </a:t>
            </a:r>
            <a:r>
              <a:rPr lang="de-DE" dirty="0" err="1"/>
              <a:t>Social</a:t>
            </a:r>
            <a:r>
              <a:rPr lang="de-DE" dirty="0"/>
              <a:t> Media Networks:</a:t>
            </a:r>
          </a:p>
          <a:p>
            <a:pPr marL="465750" indent="-285750">
              <a:spcBef>
                <a:spcPts val="200"/>
              </a:spcBef>
              <a:spcAft>
                <a:spcPts val="230"/>
              </a:spcAft>
              <a:buFont typeface="Arial" panose="020B0604020202020204" pitchFamily="34" charset="0"/>
              <a:buChar char="•"/>
            </a:pPr>
            <a:r>
              <a:rPr lang="de-DE" dirty="0" err="1"/>
              <a:t>Barabási</a:t>
            </a:r>
            <a:r>
              <a:rPr lang="de-DE" dirty="0"/>
              <a:t>–Albert Model</a:t>
            </a:r>
          </a:p>
          <a:p>
            <a:pPr marL="465750" indent="-285750">
              <a:spcBef>
                <a:spcPts val="200"/>
              </a:spcBef>
              <a:spcAft>
                <a:spcPts val="230"/>
              </a:spcAft>
              <a:buFont typeface="Arial" panose="020B0604020202020204" pitchFamily="34" charset="0"/>
              <a:buChar char="•"/>
            </a:pPr>
            <a:r>
              <a:rPr lang="de-DE" dirty="0"/>
              <a:t>Watts–</a:t>
            </a:r>
            <a:r>
              <a:rPr lang="de-DE" dirty="0" err="1"/>
              <a:t>Strogatz</a:t>
            </a:r>
            <a:r>
              <a:rPr lang="de-DE" dirty="0"/>
              <a:t> Model</a:t>
            </a:r>
            <a:endParaRPr lang="de-DE" sz="1800" b="0" dirty="0"/>
          </a:p>
          <a:p>
            <a:endParaRPr lang="de-DE" sz="1800" b="0" dirty="0"/>
          </a:p>
          <a:p>
            <a:pPr marL="285750" indent="-285750">
              <a:buFont typeface="Wingdings" panose="05000000000000000000" pitchFamily="2" charset="2"/>
              <a:buChar char="è"/>
            </a:pPr>
            <a:endParaRPr lang="de-DE" sz="1800" b="0" dirty="0"/>
          </a:p>
        </p:txBody>
      </p:sp>
      <p:pic>
        <p:nvPicPr>
          <p:cNvPr id="19" name="Grafik 18">
            <a:extLst>
              <a:ext uri="{FF2B5EF4-FFF2-40B4-BE49-F238E27FC236}">
                <a16:creationId xmlns:a16="http://schemas.microsoft.com/office/drawing/2014/main" id="{9D1AE354-A862-0455-7412-528C92805798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 t="11048" r="7440" b="6428"/>
          <a:stretch/>
        </p:blipFill>
        <p:spPr>
          <a:xfrm>
            <a:off x="9832361" y="4918595"/>
            <a:ext cx="1814223" cy="12144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6365430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hteck: abgerundete Ecken 13">
            <a:extLst>
              <a:ext uri="{FF2B5EF4-FFF2-40B4-BE49-F238E27FC236}">
                <a16:creationId xmlns:a16="http://schemas.microsoft.com/office/drawing/2014/main" id="{0B5B699D-3782-CF2B-08D4-A50842C085E0}"/>
              </a:ext>
            </a:extLst>
          </p:cNvPr>
          <p:cNvSpPr/>
          <p:nvPr/>
        </p:nvSpPr>
        <p:spPr>
          <a:xfrm>
            <a:off x="9630436" y="3163493"/>
            <a:ext cx="2088232" cy="1395109"/>
          </a:xfrm>
          <a:prstGeom prst="round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</p:txBody>
      </p:sp>
      <p:sp>
        <p:nvSpPr>
          <p:cNvPr id="13" name="Rechteck: abgerundete Ecken 12">
            <a:extLst>
              <a:ext uri="{FF2B5EF4-FFF2-40B4-BE49-F238E27FC236}">
                <a16:creationId xmlns:a16="http://schemas.microsoft.com/office/drawing/2014/main" id="{EBCB117B-982F-E7E2-E558-EA386DD78E33}"/>
              </a:ext>
            </a:extLst>
          </p:cNvPr>
          <p:cNvSpPr/>
          <p:nvPr/>
        </p:nvSpPr>
        <p:spPr>
          <a:xfrm>
            <a:off x="9657481" y="4832918"/>
            <a:ext cx="2088232" cy="1395109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EA4B4C9-659F-B062-0F31-F8A5EA5EFC2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n </a:t>
            </a:r>
            <a:r>
              <a:rPr lang="en-US" dirty="0" err="1"/>
              <a:t>epidemological</a:t>
            </a:r>
            <a:r>
              <a:rPr lang="en-US" dirty="0"/>
              <a:t> Model is used to model the Information Propagation Process</a:t>
            </a:r>
          </a:p>
        </p:txBody>
      </p:sp>
      <p:sp>
        <p:nvSpPr>
          <p:cNvPr id="4" name="Rechteck: abgerundete Ecken 3">
            <a:extLst>
              <a:ext uri="{FF2B5EF4-FFF2-40B4-BE49-F238E27FC236}">
                <a16:creationId xmlns:a16="http://schemas.microsoft.com/office/drawing/2014/main" id="{BD35C341-86A0-4B4B-FADC-5EF35296651E}"/>
              </a:ext>
            </a:extLst>
          </p:cNvPr>
          <p:cNvSpPr/>
          <p:nvPr/>
        </p:nvSpPr>
        <p:spPr>
          <a:xfrm>
            <a:off x="9639019" y="1526055"/>
            <a:ext cx="2088232" cy="1395109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0D88AB39-8127-EF9A-4374-B17E792AAE7B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l="32871" r="32870"/>
          <a:stretch/>
        </p:blipFill>
        <p:spPr>
          <a:xfrm>
            <a:off x="10083736" y="1546537"/>
            <a:ext cx="1355483" cy="1374627"/>
          </a:xfrm>
          <a:prstGeom prst="rect">
            <a:avLst/>
          </a:prstGeom>
        </p:spPr>
      </p:pic>
      <p:pic>
        <p:nvPicPr>
          <p:cNvPr id="10" name="Grafik 9">
            <a:extLst>
              <a:ext uri="{FF2B5EF4-FFF2-40B4-BE49-F238E27FC236}">
                <a16:creationId xmlns:a16="http://schemas.microsoft.com/office/drawing/2014/main" id="{77BB8D94-962D-867D-C79E-194C063FAF18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 l="36297" r="31728"/>
          <a:stretch/>
        </p:blipFill>
        <p:spPr>
          <a:xfrm>
            <a:off x="10142037" y="3143743"/>
            <a:ext cx="1320290" cy="1528135"/>
          </a:xfrm>
          <a:prstGeom prst="rect">
            <a:avLst/>
          </a:prstGeom>
        </p:spPr>
      </p:pic>
      <p:sp>
        <p:nvSpPr>
          <p:cNvPr id="15" name="Pfeil: nach unten 14">
            <a:extLst>
              <a:ext uri="{FF2B5EF4-FFF2-40B4-BE49-F238E27FC236}">
                <a16:creationId xmlns:a16="http://schemas.microsoft.com/office/drawing/2014/main" id="{CEAA200E-3800-ED1C-EC0E-ECA852A2B6E4}"/>
              </a:ext>
            </a:extLst>
          </p:cNvPr>
          <p:cNvSpPr/>
          <p:nvPr/>
        </p:nvSpPr>
        <p:spPr>
          <a:xfrm>
            <a:off x="10638422" y="2981156"/>
            <a:ext cx="144016" cy="138497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/>
          </a:p>
        </p:txBody>
      </p:sp>
      <p:sp>
        <p:nvSpPr>
          <p:cNvPr id="16" name="Pfeil: nach unten 15">
            <a:extLst>
              <a:ext uri="{FF2B5EF4-FFF2-40B4-BE49-F238E27FC236}">
                <a16:creationId xmlns:a16="http://schemas.microsoft.com/office/drawing/2014/main" id="{F2BCEA7B-2E0E-C91C-E1E6-6F8AB9358195}"/>
              </a:ext>
            </a:extLst>
          </p:cNvPr>
          <p:cNvSpPr/>
          <p:nvPr/>
        </p:nvSpPr>
        <p:spPr>
          <a:xfrm>
            <a:off x="10595457" y="4630807"/>
            <a:ext cx="144016" cy="138497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/>
          </a:p>
        </p:txBody>
      </p:sp>
      <p:sp>
        <p:nvSpPr>
          <p:cNvPr id="3" name="Rechteck: abgerundete Ecken 2">
            <a:extLst>
              <a:ext uri="{FF2B5EF4-FFF2-40B4-BE49-F238E27FC236}">
                <a16:creationId xmlns:a16="http://schemas.microsoft.com/office/drawing/2014/main" id="{AC63CEE8-2B4D-5C83-6FEF-77CCBF771A6E}"/>
              </a:ext>
            </a:extLst>
          </p:cNvPr>
          <p:cNvSpPr/>
          <p:nvPr/>
        </p:nvSpPr>
        <p:spPr>
          <a:xfrm>
            <a:off x="478368" y="1700808"/>
            <a:ext cx="8856156" cy="4608512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200"/>
              </a:spcBef>
              <a:spcAft>
                <a:spcPts val="230"/>
              </a:spcAft>
            </a:pPr>
            <a:r>
              <a:rPr lang="de-DE" dirty="0"/>
              <a:t>The SIR Model </a:t>
            </a:r>
            <a:r>
              <a:rPr lang="de-DE" dirty="0" err="1"/>
              <a:t>is</a:t>
            </a:r>
            <a:r>
              <a:rPr lang="de-DE" dirty="0"/>
              <a:t> </a:t>
            </a:r>
            <a:r>
              <a:rPr lang="de-DE" dirty="0" err="1"/>
              <a:t>used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model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Information Propagation </a:t>
            </a:r>
            <a:r>
              <a:rPr lang="de-DE" dirty="0" err="1"/>
              <a:t>Process</a:t>
            </a:r>
            <a:r>
              <a:rPr lang="de-DE" dirty="0"/>
              <a:t> [5]</a:t>
            </a:r>
            <a:r>
              <a:rPr lang="de-DE" sz="1800" b="0" dirty="0"/>
              <a:t>:</a:t>
            </a:r>
          </a:p>
          <a:p>
            <a:pPr marL="522900" indent="-342900">
              <a:spcBef>
                <a:spcPts val="200"/>
              </a:spcBef>
              <a:spcAft>
                <a:spcPts val="230"/>
              </a:spcAft>
              <a:buFont typeface="Arial" panose="020B0604020202020204" pitchFamily="34" charset="0"/>
              <a:buChar char="•"/>
            </a:pPr>
            <a:r>
              <a:rPr lang="de-DE" sz="1800" b="0" dirty="0" err="1"/>
              <a:t>Three</a:t>
            </a:r>
            <a:r>
              <a:rPr lang="de-DE" sz="1800" b="0" dirty="0"/>
              <a:t> States:</a:t>
            </a:r>
          </a:p>
          <a:p>
            <a:pPr marL="980100" lvl="1" indent="-342900">
              <a:spcBef>
                <a:spcPts val="200"/>
              </a:spcBef>
              <a:spcAft>
                <a:spcPts val="230"/>
              </a:spcAft>
              <a:buFont typeface="Arial" panose="020B0604020202020204" pitchFamily="34" charset="0"/>
              <a:buChar char="•"/>
            </a:pPr>
            <a:r>
              <a:rPr lang="de-DE" dirty="0" err="1"/>
              <a:t>Susceptible</a:t>
            </a:r>
            <a:r>
              <a:rPr lang="de-DE" dirty="0"/>
              <a:t> (S)</a:t>
            </a:r>
          </a:p>
          <a:p>
            <a:pPr marL="980100" lvl="1" indent="-342900">
              <a:spcBef>
                <a:spcPts val="200"/>
              </a:spcBef>
              <a:spcAft>
                <a:spcPts val="230"/>
              </a:spcAft>
              <a:buFont typeface="Arial" panose="020B0604020202020204" pitchFamily="34" charset="0"/>
              <a:buChar char="•"/>
            </a:pPr>
            <a:r>
              <a:rPr lang="de-DE" b="0" dirty="0" err="1"/>
              <a:t>Infected</a:t>
            </a:r>
            <a:r>
              <a:rPr lang="de-DE" b="0" dirty="0"/>
              <a:t> (I)</a:t>
            </a:r>
          </a:p>
          <a:p>
            <a:pPr marL="980100" lvl="1" indent="-342900">
              <a:spcBef>
                <a:spcPts val="200"/>
              </a:spcBef>
              <a:spcAft>
                <a:spcPts val="230"/>
              </a:spcAft>
              <a:buFont typeface="Arial" panose="020B0604020202020204" pitchFamily="34" charset="0"/>
              <a:buChar char="•"/>
            </a:pPr>
            <a:r>
              <a:rPr lang="de-DE" dirty="0" err="1"/>
              <a:t>Recovered</a:t>
            </a:r>
            <a:r>
              <a:rPr lang="de-DE" dirty="0"/>
              <a:t> (R)</a:t>
            </a:r>
            <a:endParaRPr lang="en-US" b="0" dirty="0"/>
          </a:p>
          <a:p>
            <a:pPr marL="522900" indent="-342900">
              <a:spcBef>
                <a:spcPts val="200"/>
              </a:spcBef>
              <a:spcAft>
                <a:spcPts val="230"/>
              </a:spcAft>
              <a:buFont typeface="Arial" panose="020B0604020202020204" pitchFamily="34" charset="0"/>
              <a:buChar char="•"/>
            </a:pPr>
            <a:r>
              <a:rPr lang="en-US" sz="1800" b="0" dirty="0"/>
              <a:t>If the neighbors are predominantly infected </a:t>
            </a:r>
            <a:r>
              <a:rPr lang="en-US" sz="1800" b="0" dirty="0">
                <a:sym typeface="Wingdings" panose="05000000000000000000" pitchFamily="2" charset="2"/>
              </a:rPr>
              <a:t> graph node becomes infected</a:t>
            </a:r>
          </a:p>
          <a:p>
            <a:pPr marL="522900" indent="-342900">
              <a:spcBef>
                <a:spcPts val="200"/>
              </a:spcBef>
              <a:spcAft>
                <a:spcPts val="230"/>
              </a:spcAft>
              <a:buFont typeface="Arial" panose="020B0604020202020204" pitchFamily="34" charset="0"/>
              <a:buChar char="•"/>
            </a:pPr>
            <a:r>
              <a:rPr lang="en-US" sz="1800" b="0" dirty="0"/>
              <a:t>If the neighbors are predominantly recovered </a:t>
            </a:r>
            <a:r>
              <a:rPr lang="en-US" sz="1800" b="0" dirty="0">
                <a:sym typeface="Wingdings" panose="05000000000000000000" pitchFamily="2" charset="2"/>
              </a:rPr>
              <a:t> graph node recovers</a:t>
            </a:r>
            <a:endParaRPr lang="en-US" sz="1800" b="0" dirty="0"/>
          </a:p>
          <a:p>
            <a:pPr marL="522900" indent="-342900">
              <a:spcBef>
                <a:spcPts val="200"/>
              </a:spcBef>
              <a:spcAft>
                <a:spcPts val="230"/>
              </a:spcAft>
              <a:buFont typeface="Arial" panose="020B0604020202020204" pitchFamily="34" charset="0"/>
              <a:buChar char="•"/>
            </a:pPr>
            <a:endParaRPr lang="en-US" sz="1800" b="0" dirty="0"/>
          </a:p>
          <a:p>
            <a:endParaRPr lang="de-DE" dirty="0"/>
          </a:p>
          <a:p>
            <a:pPr marL="285750" indent="-285750">
              <a:buFont typeface="Wingdings" panose="05000000000000000000" pitchFamily="2" charset="2"/>
              <a:buChar char="è"/>
            </a:pPr>
            <a:endParaRPr lang="de-DE" sz="1800" b="0" dirty="0"/>
          </a:p>
          <a:p>
            <a:pPr marL="285750" indent="-285750">
              <a:buFont typeface="Wingdings" panose="05000000000000000000" pitchFamily="2" charset="2"/>
              <a:buChar char="è"/>
            </a:pPr>
            <a:endParaRPr lang="de-DE" sz="1800" b="0" dirty="0"/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4EBC32B7-73F2-0861-5E00-4728F5B74843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 t="11048" r="7440" b="6428"/>
          <a:stretch/>
        </p:blipFill>
        <p:spPr>
          <a:xfrm>
            <a:off x="9832361" y="4918595"/>
            <a:ext cx="1814223" cy="12144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2629430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hteck: abgerundete Ecken 13">
            <a:extLst>
              <a:ext uri="{FF2B5EF4-FFF2-40B4-BE49-F238E27FC236}">
                <a16:creationId xmlns:a16="http://schemas.microsoft.com/office/drawing/2014/main" id="{0B5B699D-3782-CF2B-08D4-A50842C085E0}"/>
              </a:ext>
            </a:extLst>
          </p:cNvPr>
          <p:cNvSpPr/>
          <p:nvPr/>
        </p:nvSpPr>
        <p:spPr>
          <a:xfrm>
            <a:off x="9630436" y="3163493"/>
            <a:ext cx="2088232" cy="1395109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</p:txBody>
      </p:sp>
      <p:sp>
        <p:nvSpPr>
          <p:cNvPr id="13" name="Rechteck: abgerundete Ecken 12">
            <a:extLst>
              <a:ext uri="{FF2B5EF4-FFF2-40B4-BE49-F238E27FC236}">
                <a16:creationId xmlns:a16="http://schemas.microsoft.com/office/drawing/2014/main" id="{EBCB117B-982F-E7E2-E558-EA386DD78E33}"/>
              </a:ext>
            </a:extLst>
          </p:cNvPr>
          <p:cNvSpPr/>
          <p:nvPr/>
        </p:nvSpPr>
        <p:spPr>
          <a:xfrm>
            <a:off x="9657481" y="4832918"/>
            <a:ext cx="2088232" cy="1395109"/>
          </a:xfrm>
          <a:prstGeom prst="round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EA4B4C9-659F-B062-0F31-F8A5EA5EFC2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mplementation of a Simulator to </a:t>
            </a:r>
            <a:r>
              <a:rPr lang="en-US" dirty="0" err="1"/>
              <a:t>analyse</a:t>
            </a:r>
            <a:r>
              <a:rPr lang="en-US" dirty="0"/>
              <a:t> the Effects on the Power Grid</a:t>
            </a:r>
          </a:p>
        </p:txBody>
      </p:sp>
      <p:sp>
        <p:nvSpPr>
          <p:cNvPr id="4" name="Rechteck: abgerundete Ecken 3">
            <a:extLst>
              <a:ext uri="{FF2B5EF4-FFF2-40B4-BE49-F238E27FC236}">
                <a16:creationId xmlns:a16="http://schemas.microsoft.com/office/drawing/2014/main" id="{BD35C341-86A0-4B4B-FADC-5EF35296651E}"/>
              </a:ext>
            </a:extLst>
          </p:cNvPr>
          <p:cNvSpPr/>
          <p:nvPr/>
        </p:nvSpPr>
        <p:spPr>
          <a:xfrm>
            <a:off x="9639019" y="1526055"/>
            <a:ext cx="2088232" cy="1395109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0D88AB39-8127-EF9A-4374-B17E792AAE7B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l="32871" r="32870"/>
          <a:stretch/>
        </p:blipFill>
        <p:spPr>
          <a:xfrm>
            <a:off x="10083736" y="1546537"/>
            <a:ext cx="1355483" cy="1374627"/>
          </a:xfrm>
          <a:prstGeom prst="rect">
            <a:avLst/>
          </a:prstGeom>
        </p:spPr>
      </p:pic>
      <p:pic>
        <p:nvPicPr>
          <p:cNvPr id="10" name="Grafik 9">
            <a:extLst>
              <a:ext uri="{FF2B5EF4-FFF2-40B4-BE49-F238E27FC236}">
                <a16:creationId xmlns:a16="http://schemas.microsoft.com/office/drawing/2014/main" id="{77BB8D94-962D-867D-C79E-194C063FAF18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 l="36297" r="31728"/>
          <a:stretch/>
        </p:blipFill>
        <p:spPr>
          <a:xfrm>
            <a:off x="10142037" y="3143743"/>
            <a:ext cx="1320290" cy="1528135"/>
          </a:xfrm>
          <a:prstGeom prst="rect">
            <a:avLst/>
          </a:prstGeom>
        </p:spPr>
      </p:pic>
      <p:pic>
        <p:nvPicPr>
          <p:cNvPr id="11" name="Grafik 10">
            <a:extLst>
              <a:ext uri="{FF2B5EF4-FFF2-40B4-BE49-F238E27FC236}">
                <a16:creationId xmlns:a16="http://schemas.microsoft.com/office/drawing/2014/main" id="{40F25529-0DCF-0E5C-80E0-91F2EC0F7A8A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 t="11048" r="7440" b="6428"/>
          <a:stretch/>
        </p:blipFill>
        <p:spPr>
          <a:xfrm>
            <a:off x="9832361" y="4918595"/>
            <a:ext cx="1814223" cy="1214463"/>
          </a:xfrm>
          <a:prstGeom prst="rect">
            <a:avLst/>
          </a:prstGeom>
        </p:spPr>
      </p:pic>
      <p:sp>
        <p:nvSpPr>
          <p:cNvPr id="15" name="Pfeil: nach unten 14">
            <a:extLst>
              <a:ext uri="{FF2B5EF4-FFF2-40B4-BE49-F238E27FC236}">
                <a16:creationId xmlns:a16="http://schemas.microsoft.com/office/drawing/2014/main" id="{CEAA200E-3800-ED1C-EC0E-ECA852A2B6E4}"/>
              </a:ext>
            </a:extLst>
          </p:cNvPr>
          <p:cNvSpPr/>
          <p:nvPr/>
        </p:nvSpPr>
        <p:spPr>
          <a:xfrm>
            <a:off x="10638422" y="2981156"/>
            <a:ext cx="144016" cy="138497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/>
          </a:p>
        </p:txBody>
      </p:sp>
      <p:sp>
        <p:nvSpPr>
          <p:cNvPr id="16" name="Pfeil: nach unten 15">
            <a:extLst>
              <a:ext uri="{FF2B5EF4-FFF2-40B4-BE49-F238E27FC236}">
                <a16:creationId xmlns:a16="http://schemas.microsoft.com/office/drawing/2014/main" id="{F2BCEA7B-2E0E-C91C-E1E6-6F8AB9358195}"/>
              </a:ext>
            </a:extLst>
          </p:cNvPr>
          <p:cNvSpPr/>
          <p:nvPr/>
        </p:nvSpPr>
        <p:spPr>
          <a:xfrm>
            <a:off x="10595457" y="4630807"/>
            <a:ext cx="144016" cy="138497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/>
          </a:p>
        </p:txBody>
      </p:sp>
      <p:sp>
        <p:nvSpPr>
          <p:cNvPr id="6" name="Rechteck: abgerundete Ecken 5">
            <a:extLst>
              <a:ext uri="{FF2B5EF4-FFF2-40B4-BE49-F238E27FC236}">
                <a16:creationId xmlns:a16="http://schemas.microsoft.com/office/drawing/2014/main" id="{A19E4895-7403-330F-28C3-460E7CE9D992}"/>
              </a:ext>
            </a:extLst>
          </p:cNvPr>
          <p:cNvSpPr/>
          <p:nvPr/>
        </p:nvSpPr>
        <p:spPr>
          <a:xfrm>
            <a:off x="499161" y="3284984"/>
            <a:ext cx="8856156" cy="1750717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200"/>
              </a:spcBef>
              <a:spcAft>
                <a:spcPts val="230"/>
              </a:spcAft>
            </a:pPr>
            <a:r>
              <a:rPr lang="de-DE" dirty="0"/>
              <a:t>Simulation </a:t>
            </a:r>
            <a:r>
              <a:rPr lang="de-DE" dirty="0" err="1"/>
              <a:t>Steps</a:t>
            </a:r>
            <a:r>
              <a:rPr lang="de-DE" dirty="0"/>
              <a:t> </a:t>
            </a:r>
            <a:r>
              <a:rPr lang="de-DE" sz="1800" b="0" dirty="0"/>
              <a:t>:</a:t>
            </a:r>
          </a:p>
          <a:p>
            <a:pPr marL="522900" indent="-342900">
              <a:spcBef>
                <a:spcPts val="200"/>
              </a:spcBef>
              <a:spcAft>
                <a:spcPts val="230"/>
              </a:spcAft>
              <a:buFont typeface="+mj-lt"/>
              <a:buAutoNum type="arabicPeriod"/>
            </a:pPr>
            <a:r>
              <a:rPr lang="en-US" sz="1800" b="0" dirty="0"/>
              <a:t>Start with one source of </a:t>
            </a:r>
            <a:r>
              <a:rPr lang="en-US" dirty="0"/>
              <a:t>I</a:t>
            </a:r>
            <a:r>
              <a:rPr lang="en-US" sz="1800" b="0" dirty="0"/>
              <a:t>nformation</a:t>
            </a:r>
          </a:p>
          <a:p>
            <a:pPr marL="522900" indent="-342900">
              <a:spcBef>
                <a:spcPts val="200"/>
              </a:spcBef>
              <a:spcAft>
                <a:spcPts val="230"/>
              </a:spcAft>
              <a:buFont typeface="+mj-lt"/>
              <a:buAutoNum type="arabicPeriod"/>
            </a:pPr>
            <a:r>
              <a:rPr lang="en-US" sz="1800" b="0" dirty="0"/>
              <a:t>For each iteration step</a:t>
            </a:r>
          </a:p>
          <a:p>
            <a:pPr marL="980100" lvl="1" indent="-342900">
              <a:spcBef>
                <a:spcPts val="200"/>
              </a:spcBef>
              <a:spcAft>
                <a:spcPts val="230"/>
              </a:spcAft>
              <a:buFont typeface="+mj-lt"/>
              <a:buAutoNum type="arabicPeriod"/>
            </a:pPr>
            <a:r>
              <a:rPr lang="en-US" b="0" dirty="0"/>
              <a:t>Calculate the power used in the network</a:t>
            </a:r>
          </a:p>
          <a:p>
            <a:pPr marL="980100" lvl="1" indent="-342900">
              <a:spcBef>
                <a:spcPts val="200"/>
              </a:spcBef>
              <a:spcAft>
                <a:spcPts val="230"/>
              </a:spcAft>
              <a:buFont typeface="+mj-lt"/>
              <a:buAutoNum type="arabicPeriod"/>
            </a:pPr>
            <a:r>
              <a:rPr lang="en-US" dirty="0"/>
              <a:t>Propagate the information in the graph</a:t>
            </a:r>
            <a:endParaRPr lang="de-DE" sz="1800" b="0" dirty="0"/>
          </a:p>
        </p:txBody>
      </p:sp>
      <p:sp>
        <p:nvSpPr>
          <p:cNvPr id="7" name="Rechteck: abgerundete Ecken 6">
            <a:extLst>
              <a:ext uri="{FF2B5EF4-FFF2-40B4-BE49-F238E27FC236}">
                <a16:creationId xmlns:a16="http://schemas.microsoft.com/office/drawing/2014/main" id="{8B8E31EA-E9BE-BD70-9CF6-DFDD27944286}"/>
              </a:ext>
            </a:extLst>
          </p:cNvPr>
          <p:cNvSpPr/>
          <p:nvPr/>
        </p:nvSpPr>
        <p:spPr>
          <a:xfrm>
            <a:off x="495443" y="1617629"/>
            <a:ext cx="8856156" cy="1568380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200"/>
              </a:spcBef>
              <a:spcAft>
                <a:spcPts val="230"/>
              </a:spcAft>
            </a:pPr>
            <a:r>
              <a:rPr lang="en-US" dirty="0"/>
              <a:t>Assumptions: </a:t>
            </a:r>
          </a:p>
          <a:p>
            <a:pPr marL="285750" indent="-285750">
              <a:spcBef>
                <a:spcPts val="200"/>
              </a:spcBef>
              <a:spcAft>
                <a:spcPts val="230"/>
              </a:spcAft>
              <a:buFont typeface="Arial" panose="020B0604020202020204" pitchFamily="34" charset="0"/>
              <a:buChar char="•"/>
            </a:pPr>
            <a:r>
              <a:rPr lang="en-US" dirty="0"/>
              <a:t>Each node in the social media graph signifies one (physical) household</a:t>
            </a:r>
          </a:p>
          <a:p>
            <a:pPr marL="285750" indent="-285750">
              <a:spcBef>
                <a:spcPts val="200"/>
              </a:spcBef>
              <a:spcAft>
                <a:spcPts val="230"/>
              </a:spcAft>
              <a:buFont typeface="Arial" panose="020B0604020202020204" pitchFamily="34" charset="0"/>
              <a:buChar char="•"/>
            </a:pPr>
            <a:r>
              <a:rPr lang="en-US" sz="1800" b="0" dirty="0"/>
              <a:t>A piece of </a:t>
            </a:r>
            <a:r>
              <a:rPr lang="en-US" dirty="0"/>
              <a:t>I</a:t>
            </a:r>
            <a:r>
              <a:rPr lang="en-US" sz="1800" b="0" dirty="0"/>
              <a:t>nformation may have a start date</a:t>
            </a:r>
          </a:p>
          <a:p>
            <a:pPr marL="285750" indent="-285750">
              <a:spcBef>
                <a:spcPts val="200"/>
              </a:spcBef>
              <a:spcAft>
                <a:spcPts val="230"/>
              </a:spcAft>
              <a:buFont typeface="Arial" panose="020B0604020202020204" pitchFamily="34" charset="0"/>
              <a:buChar char="•"/>
            </a:pPr>
            <a:r>
              <a:rPr lang="en-US" dirty="0"/>
              <a:t>The effect of the Information may have a start and end date</a:t>
            </a:r>
            <a:endParaRPr lang="en-US" sz="1800" b="0" dirty="0"/>
          </a:p>
        </p:txBody>
      </p:sp>
      <p:sp>
        <p:nvSpPr>
          <p:cNvPr id="8" name="Rechteck: abgerundete Ecken 7">
            <a:extLst>
              <a:ext uri="{FF2B5EF4-FFF2-40B4-BE49-F238E27FC236}">
                <a16:creationId xmlns:a16="http://schemas.microsoft.com/office/drawing/2014/main" id="{1C4754F9-5F43-A7D2-DF12-7D4F378F7DB0}"/>
              </a:ext>
            </a:extLst>
          </p:cNvPr>
          <p:cNvSpPr/>
          <p:nvPr/>
        </p:nvSpPr>
        <p:spPr>
          <a:xfrm>
            <a:off x="499161" y="5107283"/>
            <a:ext cx="8856156" cy="1395109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200"/>
              </a:spcBef>
              <a:spcAft>
                <a:spcPts val="230"/>
              </a:spcAft>
            </a:pPr>
            <a:r>
              <a:rPr lang="en-US" dirty="0"/>
              <a:t>Power Calculation:</a:t>
            </a:r>
          </a:p>
          <a:p>
            <a:pPr>
              <a:spcBef>
                <a:spcPts val="200"/>
              </a:spcBef>
              <a:spcAft>
                <a:spcPts val="230"/>
              </a:spcAft>
            </a:pPr>
            <a:r>
              <a:rPr lang="en-US" dirty="0"/>
              <a:t>Each household can have electrical appliances and may activate them based on if they possess the specific appliances</a:t>
            </a:r>
          </a:p>
        </p:txBody>
      </p:sp>
    </p:spTree>
    <p:extLst>
      <p:ext uri="{BB962C8B-B14F-4D97-AF65-F5344CB8AC3E}">
        <p14:creationId xmlns:p14="http://schemas.microsoft.com/office/powerpoint/2010/main" val="360190642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76B06DE-4337-3584-9F8E-46062908986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First Look </a:t>
            </a:r>
            <a:r>
              <a:rPr lang="de-DE" dirty="0" err="1"/>
              <a:t>into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Simulator</a:t>
            </a:r>
          </a:p>
        </p:txBody>
      </p:sp>
      <p:pic>
        <p:nvPicPr>
          <p:cNvPr id="4" name="video">
            <a:hlinkClick r:id="" action="ppaction://media"/>
            <a:extLst>
              <a:ext uri="{FF2B5EF4-FFF2-40B4-BE49-F238E27FC236}">
                <a16:creationId xmlns:a16="http://schemas.microsoft.com/office/drawing/2014/main" id="{C5136FEA-44A6-7534-BFC4-EC1A5997D9D8}"/>
              </a:ext>
            </a:extLst>
          </p:cNvPr>
          <p:cNvPicPr>
            <a:picLocks noGrp="1" noChangeAspect="1"/>
          </p:cNvPicPr>
          <p:nvPr>
            <p:ph idx="1"/>
            <a:videoFile r:link="rId1"/>
            <p:extLst>
              <p:ext uri="{DAA4B4D4-6D71-4841-9C94-3DE7FCFB9230}">
                <p14:media xmlns:p14="http://schemas.microsoft.com/office/powerpoint/2010/main" r:embed="rId2">
                  <p14:trim end="6000"/>
                </p14:media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625475" y="1484784"/>
            <a:ext cx="10942638" cy="4689475"/>
          </a:xfrm>
        </p:spPr>
      </p:pic>
    </p:spTree>
    <p:extLst>
      <p:ext uri="{BB962C8B-B14F-4D97-AF65-F5344CB8AC3E}">
        <p14:creationId xmlns:p14="http://schemas.microsoft.com/office/powerpoint/2010/main" val="310765811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4000" fill="hold"/>
                                        <p:tgtEl>
                                          <p:spTgt spid="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4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4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4"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  <p:tag name="EE4P_AGENDAWIZARD" val="&lt;ee4p&gt;&lt;layouts&gt;&lt;layout name=&quot;Box 1&quot; id=&quot;1_1&quot;&gt;&lt;standard&gt;&lt;textframe horizontalAnchor=&quot;1&quot; marginBottom=&quot;6&quot; marginLeft=&quot;0&quot; marginRight=&quot;0&quot; marginTop=&quot;6&quot; orientation=&quot;1&quot; verticalAnchor=&quot;1&quot; /&gt;&lt;font name=&quot;Arial&quot; bold=&quot;0&quot; italic=&quot;0&quot; color=&quot;13&quot; /&gt;&lt;paragraphformat firstLineIndent=&quot;0&quot; leftIndent=&quot;0&quot; rightIndent=&quot;0&quot; lineRuleBefore=&quot;&quot; lineRuleWithin=&quot;&quot; lineRuleAfter=&quot;&quot; spaceBefore=&quot;&quot; spaceWithin=&quot;&quot; spaceAfter=&quot;&quot; /&gt;&lt;fill visible=&quot;0&quot; /&gt;&lt;line visible=&quot;0&quot; /&gt;&lt;bulletformat visible=&quot;0&quot; /&gt;&lt;/standard&gt;&lt;agenda name=&quot;New Agenda&quot; title=&quot;Agenda&quot; subtitle=&quot;&quot; sizingModeId=&quot;2&quot; fontSize=&quot;16&quot; fontSizeAuto=&quot;1&quot; startTime=&quot;540&quot; timeFormatId=&quot;1&quot; startItemNo=&quot;1&quot; createSingleAgendaSlide=&quot;1&quot; createSeparatingSlides=&quot;1&quot; createBackupSlide=&quot;1&quot; /&gt;&lt;columns&gt;&lt;column field=&quot;itemno&quot; label=&quot;No.&quot; checked=&quot;1&quot; leftSpacing=&quot;0&quot; rightSpacing=&quot;0&quot; dock=&quot;1&quot; fixedWidth=&quot;31.50472&quot; /&gt;&lt;column field=&quot;topic&quot; label=&quot;Topic&quot; leftSpacing=&quot;5&quot; rightDistribute=&quot;1&quot; dock=&quot;1&quot; /&gt;&lt;column field=&quot;responsible&quot; label=&quot;Responsible&quot; visible=&quot;1&quot; checked=&quot;1&quot; leftSpacing=&quot;10&quot; rightDistribute=&quot;1&quot; dock=&quot;1&quot; /&gt;&lt;column field=&quot;freecolumn&quot; label=&quot;&quot; visible=&quot;1&quot; checked=&quot;0&quot; leftSpacing=&quot;10&quot; rightDistribute=&quot;1&quot; dock=&quot;1&quot; /&gt;&lt;column field=&quot;timeslot&quot; label=&quot;Time Slot&quot; visible=&quot;1&quot; checked=&quot;1&quot; leftSpacing=&quot;10&quot; rightSpacing=&quot;6&quot; dock=&quot;2&quot; /&gt;&lt;column field=&quot;pageno&quot; label=&quot;Page No.&quot; visible=&quot;1&quot; checked=&quot;0&quot; leftSpacing=&quot;10&quot; rightSpacing=&quot;6&quot; dock=&quot;2&quot; /&gt;&lt;/columns&gt;&lt;position left=&quot;31.125&quot; top=&quot;133.875&quot; width=&quot;657.75&quot; height=&quot;328.875&quot; /&gt;&lt;!--&#10;      &lt;subtitle&gt;&#10;        &lt;position left=&quot;31.25&quot; top=&quot;92.00031&quot; width=&quot;657.75&quot; height=&quot;19.25&quot;/&gt;&#10;        &lt;font size=&quot;16&quot;/&gt;&#10;        &lt;textframe marginBottom=&quot;0&quot; marginTop=&quot;0&quot;/&gt;&#10;        &lt;paragraphformat alignment=&quot;1&quot;/&gt;&#10;      &lt;/subtitle&gt;&#10;   --&gt;&lt;settings allowedSizingModeIds=&quot;1|2&quot; allowedFontSizes=&quot;8|9|10|10.5|11|12|14|16|18&quot; allowedTimeFormatIds=&quot;1|2|3&quot; slideLayout=&quot;11&quot; customLayoutName=&quot;Nur Titel|Title Only&quot; customLayoutIndex=&quot;&quot; showBreak=&quot;1&quot; singleAgendaSlideSelected=&quot;0&quot; backupSlideTitle=&quot;Backup: %agendaName%&quot; topMargin=&quot;0&quot; leftMargin=&quot;0&quot; allowedLevels=&quot;4&quot; itemNoFormats=&quot;{1}¦{1}.{2}¦{3:alphaLC}¦{3:alphaLC}.{4:alphaLC}&quot; /&gt;&lt;!-- Agenda item formats --&gt;&lt;cases&gt;&lt;case level=&quot;1&quot; selected=&quot;0&quot; break=&quot;0&quot; topMinSpacing=&quot;5&quot; topMaxSpacing=&quot;5&quot; bottomMinSpacing=&quot;0&quot; bottomMaxSpacing=&quot;0&quot;&gt;&lt;element field=&quot;itemno&quot; type=&quot;autoshape&quot; autoShapeType=&quot;1&quot; indent=&quot;(level-1)*(itemSingleHeight+topicLeftSpacing)&quot; indentType=&quot;1&quot;&gt;&lt;textframe marginLeft=&quot;6&quot; marginRight=&quot;6&quot; verticalAnchor=&quot;3&quot; /&gt;&lt;paragraphformat alignment=&quot;2&quot; /&gt;&lt;fill foreColor=&quot;5&quot; visible=&quot;1&quot; /&gt;&lt;font bold=&quot;1&quot; color=&quot;14&quot; /&gt;&lt;/element&gt;&lt;element field=&quot;topic&quot; type=&quot;autoshape&quot; autoShapeType=&quot;1&quot; indent=&quot;(level-1)*(itemSingleHeight+topicLeftSpacing)&quot; indentType=&quot;2&quot;&gt;&lt;paragraphformat alignment=&quot;1&quot; /&gt;&lt;textframe marginLeft=&quot;6&quot; /&gt;&lt;font bold=&quot;1&quot; /&gt;&lt;/element&gt;&lt;element field=&quot;responsible&quot; type=&quot;autoshape&quot; autoShapeType=&quot;1&quot; indent=&quot;(level-1)*(itemSingleHeight+topicLeftSpacing)&quot; indentType=&quot;1&quot;&gt;&lt;paragraphformat alignment=&quot;1&quot; /&gt;&lt;/element&gt;&lt;element field=&quot;freecolumn&quot; type=&quot;autoshape&quot; autoShapeType=&quot;1&quot; indent=&quot;(level-1)*(itemSingleHeight+topicLeftSpacing)&quot; indentType=&quot;1&quot;&gt;&lt;paragraphformat alignment=&quot;1&quot; /&gt;&lt;/element&gt;&lt;element field=&quot;timeslot&quot; type=&quot;autoshape&quot; autoShapeType=&quot;1&quot;&gt;&lt;paragraphformat alignment=&quot;1&quot; /&gt;&lt;/element&gt;&lt;element field=&quot;pageno&quot; type=&quot;autoshape&quot; autoShapeType=&quot;1&quot;&gt;&lt;paragraphformat alignment=&quot;3&quot; /&gt;&lt;/element&gt;&lt;/case&gt;&lt;case level=&quot;1&quot; selected=&quot;1&quot; break=&quot;0&quot; topMinSpacing=&quot;5&quot; topMaxSpacing=&quot;5&quot; bottomMinSpacing=&quot;0&quot; bottomMaxSpacing=&quot;0&quot;&gt;&lt;element type=&quot;autoshape&quot; autoShapeType=&quot;1&quot; value=&quot;&quot;&gt;&lt;position left=&quot;level*(itemSingleHeight+topicLeftSpacing)&quot; top=&quot;0&quot; width=&quot;agendaWidth-topicLeftSpacing-itemNoWidth-(level-1)*(itemSingleHeight+topicLeftSpacing)&quot; height=&quot;itemHeight&quot; /&gt;&lt;fill foreColor=&quot;#D9D9D9&quot; visible=&quot;1&quot; /&gt;&lt;/element&gt;&lt;element field=&quot;itemno&quot; type=&quot;autoshape&quot; autoShapeType=&quot;1&quot; indent=&quot;(level-1)*(itemSingleHeight+topicLeftSpacing)&quot; indentType=&quot;1&quot;&gt;&lt;textframe marginLeft=&quot;6&quot; marginRight=&quot;6&quot; verticalAnchor=&quot;3&quot; /&gt;&lt;paragraphformat alignment=&quot;2&quot; /&gt;&lt;fill foreColor=&quot;5&quot; visible=&quot;1&quot; /&gt;&lt;font bold=&quot;1&quot; color=&quot;14&quot; /&gt;&lt;/element&gt;&lt;element field=&quot;topic&quot; type=&quot;autoshape&quot; autoShapeType=&quot;1&quot; indent=&quot;(level-1)*(itemSingleHeight+topicLeftSpacing)&quot; indentType=&quot;2&quot;&gt;&lt;paragraphformat alignment=&quot;1&quot; /&gt;&lt;font bold=&quot;1&quot; /&gt;&lt;textframe marginLeft=&quot;6&quot; /&gt;&lt;/element&gt;&lt;element field=&quot;responsible&quot; type=&quot;autoshape&quot; autoShapeType=&quot;1&quot; indent=&quot;(level-1)*(itemSingleHeight+topicLeftSpacing)&quot; indentType=&quot;1&quot;&gt;&lt;paragraphformat alignment=&quot;1&quot; /&gt;&lt;/element&gt;&lt;element field=&quot;freecolumn&quot; type=&quot;autoshape&quot; autoShapeType=&quot;1&quot; indent=&quot;(level-1)*(itemSingleHeight+topicLeftSpacing)&quot; indentType=&quot;1&quot;&gt;&lt;paragraphformat alignment=&quot;1&quot; /&gt;&lt;/element&gt;&lt;element field=&quot;timeslot&quot; type=&quot;autoshape&quot; autoShapeType=&quot;1&quot;&gt;&lt;paragraphformat alignment=&quot;1&quot; /&gt;&lt;/element&gt;&lt;element field=&quot;pageno&quot; type=&quot;autoshape&quot; autoShapeType=&quot;1&quot;&gt;&lt;paragraphformat alignment=&quot;3&quot; /&gt;&lt;/element&gt;&lt;/case&gt;&lt;case level=&quot;1&quot; selected=&quot;0&quot; break=&quot;1&quot; topMinSpacing=&quot;5&quot; topMaxSpacing=&quot;5&quot; bottomMinSpacing=&quot;0&quot; bottomMaxSpacing=&quot;0&quot;&gt;&lt;element field=&quot;topic&quot; type=&quot;autoshape&quot; autoShapeType=&quot;1&quot; indent=&quot;(level-1)*(itemSingleHeight+topicLeftSpacing)&quot; indentType=&quot;2&quot;&gt;&lt;paragraphformat alignment=&quot;1&quot; /&gt;&lt;textframe marginLeft=&quot;6&quot; /&gt;&lt;font bold=&quot;1&quot; italic=&quot;1&quot; /&gt;&lt;/element&gt;&lt;element field=&quot;responsible&quot; type=&quot;autoshape&quot; autoShapeType=&quot;1&quot; indent=&quot;(level-1)*(itemSingleHeight+topicLeftSpacing)&quot; indentType=&quot;1&quot;&gt;&lt;paragraphformat alignment=&quot;1&quot; /&gt;&lt;font italic=&quot;1&quot; /&gt;&lt;/element&gt;&lt;element field=&quot;freecolumn&quot; type=&quot;autoshape&quot; autoShapeType=&quot;1&quot; indent=&quot;(level-1)*(itemSingleHeight+topicLeftSpacing)&quot; indentType=&quot;1&quot;&gt;&lt;paragraphformat alignment=&quot;1&quot; /&gt;&lt;font italic=&quot;1&quot; /&gt;&lt;/element&gt;&lt;element field=&quot;timeslot&quot; type=&quot;autoshape&quot; autoShapeType=&quot;1&quot;&gt;&lt;paragraphformat alignment=&quot;1&quot; /&gt;&lt;font italic=&quot;1&quot; /&gt;&lt;/element&gt;&lt;element field=&quot;pageno&quot; type=&quot;autoshape&quot; autoShapeType=&quot;1&quot;&gt;&lt;paragraphformat alignment=&quot;3&quot; /&gt;&lt;font italic=&quot;1&quot; /&gt;&lt;/element&gt;&lt;/case&gt;&lt;case level=&quot;1&quot; selected=&quot;1&quot; break=&quot;1&quot; topMinSpacing=&quot;5&quot; topMaxSpacing=&quot;5&quot; bottomMinSpacing=&quot;0&quot; bottomMaxSpacing=&quot;0&quot;&gt;&lt;element type=&quot;autoshape&quot; autoShapeType=&quot;1&quot; value=&quot;&quot;&gt;&lt;position left=&quot;level*(itemSingleHeight+topicLeftSpacing)&quot; top=&quot;0&quot; width=&quot;agendaWidth-topicLeftSpacing-itemNoWidth-(level-1)*(itemSingleHeight+topicLeftSpacing)&quot; height=&quot;itemHeight&quot; /&gt;&lt;fill foreColor=&quot;#D9D9D9&quot; visible=&quot;1&quot; /&gt;&lt;/element&gt;&lt;element field=&quot;topic&quot; type=&quot;autoshape&quot; autoShapeType=&quot;1&quot; indent=&quot;(level-1)*(itemSingleHeight+topicLeftSpacing)&quot; indentType=&quot;2&quot;&gt;&lt;paragraphformat alignment=&quot;1&quot; /&gt;&lt;font bold=&quot;1&quot; italic=&quot;1&quot; /&gt;&lt;textframe marginLeft=&quot;6&quot; /&gt;&lt;/element&gt;&lt;element field=&quot;responsible&quot; type=&quot;autoshape&quot; autoShapeType=&quot;1&quot; indent=&quot;(level-1)*(itemSingleHeight+topicLeftSpacing)&quot; indentType=&quot;1&quot;&gt;&lt;paragraphformat alignment=&quot;1&quot; /&gt;&lt;font italic=&quot;1&quot; /&gt;&lt;/element&gt;&lt;element field=&quot;freecolumn&quot; type=&quot;autoshape&quot; autoShapeType=&quot;1&quot; indent=&quot;(level-1)*(itemSingleHeight+topicLeftSpacing)&quot; indentType=&quot;1&quot;&gt;&lt;paragraphformat alignment=&quot;1&quot; /&gt;&lt;font italic=&quot;1&quot; /&gt;&lt;/element&gt;&lt;element field=&quot;timeslot&quot; type=&quot;autoshape&quot; autoShapeType=&quot;1&quot;&gt;&lt;paragraphformat alignment=&quot;1&quot; /&gt;&lt;font italic=&quot;1&quot; /&gt;&lt;/element&gt;&lt;element field=&quot;pageno&quot; type=&quot;autoshape&quot; autoShapeType=&quot;1&quot;&gt;&lt;paragraphformat alignment=&quot;3&quot; /&gt;&lt;font italic=&quot;1&quot; /&gt;&lt;/element&gt;&lt;/case&gt;&lt;/cases&gt;&lt;!-- Elements on slide independent of items --&gt;&lt;elements&gt;&lt;!--&#10;        &lt;element type=&quot;textbox&quot; zOrder=&quot;1&quot; value=&quot;test&quot;&gt;&#10;          &lt;position left=&quot;0&quot; top=&quot;0&quot; width=&quot;30&quot; height=&quot;30&quot;/&gt;&#10;        &lt;/element&gt;&#10;      --&gt;&lt;/elements&gt;&lt;/layout&gt;&lt;/layouts&gt;&lt;contents&gt;&lt;agenda name=&quot;New Agenda&quot; title=&quot;Agenda&quot; subtitle=&quot;&quot; sizingModeId=&quot;2&quot; fontSize=&quot;16&quot; fontSizeAuto=&quot;1&quot; startTime=&quot;540&quot; timeFormatId=&quot;1&quot; startItemNo=&quot;1&quot; createSingleAgendaSlide=&quot;0&quot; createSeparatingSlides=&quot;0&quot; createBackupSlide=&quot;0&quot; layoutId=&quot;1_1&quot; createSections=&quot;0&quot; singleSlideId=&quot;&quot; backupSlideId=&quot;&quot; hideSeparatingSlides=&quot;0&quot;&gt;&lt;columns leftSpacing=&quot;0&quot; rightSpacing=&quot;0&quot;&gt;&lt;column field=&quot;itemno&quot; label=&quot;No.&quot; checked=&quot;1&quot; leftSpacing=&quot;0&quot; rightSpacing=&quot;0&quot; dock=&quot;1&quot; fixedWidth=&quot;31.50472&quot; /&gt;&lt;column field=&quot;topic&quot; label=&quot;Topic&quot; leftSpacing=&quot;5&quot; rightDistribute=&quot;1&quot; dock=&quot;1&quot; rightSpacing=&quot;434.0899&quot; /&gt;&lt;column field=&quot;responsible&quot; label=&quot;Responsible&quot; visible=&quot;1&quot; checked=&quot;0&quot; leftSpacing=&quot;10&quot; rightDistribute=&quot;1&quot; dock=&quot;1&quot; /&gt;&lt;column field=&quot;freecolumn&quot; label=&quot;&quot; visible=&quot;1&quot; checked=&quot;0&quot; leftSpacing=&quot;10&quot; rightDistribute=&quot;1&quot; dock=&quot;1&quot; /&gt;&lt;column field=&quot;timeslot&quot; label=&quot;Time Slot&quot; visible=&quot;1&quot; checked=&quot;0&quot; leftSpacing=&quot;10&quot; rightSpacing=&quot;6&quot; dock=&quot;2&quot; /&gt;&lt;column field=&quot;pageno&quot; label=&quot;Page No.&quot; visible=&quot;1&quot; checked=&quot;1&quot; leftSpacing=&quot;10&quot; rightSpacing=&quot;6&quot; dock=&quot;2&quot; /&gt;&lt;/columns&gt;&lt;items /&gt;&lt;/agenda&gt;&lt;/contents&gt;&lt;/ee4p&gt;"/>
</p:tagLst>
</file>

<file path=ppt/theme/theme1.xml><?xml version="1.0" encoding="utf-8"?>
<a:theme xmlns:a="http://schemas.openxmlformats.org/drawingml/2006/main" name="Präsentationsvorlage_BWL9">
  <a:themeElements>
    <a:clrScheme name="Benutzerdefiniert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8877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v1_TUD_Präsentation_ro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v1_TUD_Präsentation_ro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v1_TUD_Präsentation_rot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v1_TUD_Präsentation_rot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v1_TUD_Präsentation_rot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v1_TUD_Präsentation_rot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v1_TUD_Präsentation_rot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v1_TUD_Präsentation_rot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v1_TUD_Präsentation_rot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v1_TUD_Präsentation_rot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v1_TUD_Präsentation_rot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v1_TUD_Präsentation_rot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v1_TUD_Präsentation_rot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Larissa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803</Words>
  <Application>Microsoft Office PowerPoint</Application>
  <PresentationFormat>Breitbild</PresentationFormat>
  <Paragraphs>163</Paragraphs>
  <Slides>15</Slides>
  <Notes>1</Notes>
  <HiddenSlides>0</HiddenSlides>
  <MMClips>1</MMClips>
  <ScaleCrop>false</ScaleCrop>
  <HeadingPairs>
    <vt:vector size="6" baseType="variant">
      <vt:variant>
        <vt:lpstr>Verwendete Schriftarten</vt:lpstr>
      </vt:variant>
      <vt:variant>
        <vt:i4>6</vt:i4>
      </vt:variant>
      <vt:variant>
        <vt:lpstr>Design</vt:lpstr>
      </vt:variant>
      <vt:variant>
        <vt:i4>1</vt:i4>
      </vt:variant>
      <vt:variant>
        <vt:lpstr>Folientitel</vt:lpstr>
      </vt:variant>
      <vt:variant>
        <vt:i4>15</vt:i4>
      </vt:variant>
    </vt:vector>
  </HeadingPairs>
  <TitlesOfParts>
    <vt:vector size="22" baseType="lpstr">
      <vt:lpstr>Bitstream Charter</vt:lpstr>
      <vt:lpstr>Charter</vt:lpstr>
      <vt:lpstr>Stafford</vt:lpstr>
      <vt:lpstr>Arial</vt:lpstr>
      <vt:lpstr>Tahoma</vt:lpstr>
      <vt:lpstr>Wingdings</vt:lpstr>
      <vt:lpstr>Präsentationsvorlage_BWL9</vt:lpstr>
      <vt:lpstr>Modeling and Analysis of Human Behavior Impacts on Energy Systems during Crisis Events</vt:lpstr>
      <vt:lpstr>Information can be a powerful tool to change human behavior</vt:lpstr>
      <vt:lpstr>Panic Buying occured before the Pandemic, too</vt:lpstr>
      <vt:lpstr>A few example Scenarios for Panic Buying Behavior affecting the Power Grid</vt:lpstr>
      <vt:lpstr>Idea: Analyse the Information Flow in Social Networks and check if it could affect the Power Grid</vt:lpstr>
      <vt:lpstr>The Social Media Graph is created via Random Graph Algorithms</vt:lpstr>
      <vt:lpstr>An epidemological Model is used to model the Information Propagation Process</vt:lpstr>
      <vt:lpstr>Implementation of a Simulator to analyse the Effects on the Power Grid</vt:lpstr>
      <vt:lpstr>First Look into the Simulator</vt:lpstr>
      <vt:lpstr>The Power Grid can be affected by Human Behavior</vt:lpstr>
      <vt:lpstr>Would it be possible to predict an increased Power Demand based on Real Variables?</vt:lpstr>
      <vt:lpstr>These Variables could be used to create a monitoring Platform for possible Panic Buying Behavior for the Power Grid</vt:lpstr>
      <vt:lpstr>Timeline for the Master Thesis</vt:lpstr>
      <vt:lpstr>Questions?  Ideas?</vt:lpstr>
      <vt:lpstr>Source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olie 1</dc:title>
  <dc:creator>Moritz Lohse</dc:creator>
  <cp:lastModifiedBy>Isabella Nunes Grieser</cp:lastModifiedBy>
  <cp:revision>742</cp:revision>
  <cp:lastPrinted>2015-03-31T13:31:38Z</cp:lastPrinted>
  <dcterms:created xsi:type="dcterms:W3CDTF">2009-12-23T09:42:49Z</dcterms:created>
  <dcterms:modified xsi:type="dcterms:W3CDTF">2023-07-07T15:17:28Z</dcterms:modified>
</cp:coreProperties>
</file>